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7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8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9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0.xml" ContentType="application/vnd.openxmlformats-officedocument.them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1.xml" ContentType="application/vnd.openxmlformats-officedocument.them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2.xml" ContentType="application/vnd.openxmlformats-officedocument.theme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41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4023" r:id="rId5"/>
    <p:sldMasterId id="2147483959" r:id="rId6"/>
    <p:sldMasterId id="2147484009" r:id="rId7"/>
    <p:sldMasterId id="2147483974" r:id="rId8"/>
    <p:sldMasterId id="2147483989" r:id="rId9"/>
    <p:sldMasterId id="2147484042" r:id="rId10"/>
    <p:sldMasterId id="2147484071" r:id="rId11"/>
    <p:sldMasterId id="2147484092" r:id="rId12"/>
    <p:sldMasterId id="2147484121" r:id="rId13"/>
    <p:sldMasterId id="2147484134" r:id="rId14"/>
    <p:sldMasterId id="2147484146" r:id="rId15"/>
    <p:sldMasterId id="2147484190" r:id="rId16"/>
  </p:sldMasterIdLst>
  <p:notesMasterIdLst>
    <p:notesMasterId r:id="rId21"/>
  </p:notesMasterIdLst>
  <p:handoutMasterIdLst>
    <p:handoutMasterId r:id="rId22"/>
  </p:handoutMasterIdLst>
  <p:sldIdLst>
    <p:sldId id="2405" r:id="rId17"/>
    <p:sldId id="1549" r:id="rId18"/>
    <p:sldId id="2591" r:id="rId19"/>
    <p:sldId id="4311" r:id="rId20"/>
  </p:sldIdLst>
  <p:sldSz cx="12192000" cy="6858000"/>
  <p:notesSz cx="6858000" cy="9144000"/>
  <p:embeddedFontLst>
    <p:embeddedFont>
      <p:font typeface="Fira Sans" panose="020B0503050000020004" pitchFamily="34" charset="0"/>
      <p:regular r:id="rId23"/>
      <p:bold r:id="rId24"/>
      <p:italic r:id="rId25"/>
      <p:boldItalic r:id="rId26"/>
    </p:embeddedFont>
    <p:embeddedFont>
      <p:font typeface="Fira Sans Medium" panose="020B0603050000020004" pitchFamily="34" charset="0"/>
      <p:regular r:id="rId27"/>
      <p:italic r:id="rId28"/>
    </p:embeddedFont>
    <p:embeddedFont>
      <p:font typeface="Oxygen" panose="02000503000000000000" pitchFamily="2" charset="0"/>
      <p:regular r:id="rId29"/>
      <p:bold r:id="rId30"/>
    </p:embeddedFont>
    <p:embeddedFont>
      <p:font typeface="Trebuchet MS" panose="020B0603020202020204" pitchFamily="34" charset="0"/>
      <p:regular r:id="rId31"/>
      <p:bold r:id="rId32"/>
      <p:italic r:id="rId33"/>
      <p:boldItalic r:id="rId34"/>
    </p:embeddedFont>
  </p:embeddedFontLst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root-Nuelend, Reint-Jan" initials="GR" lastIdx="1" clrIdx="6">
    <p:extLst>
      <p:ext uri="{19B8F6BF-5375-455C-9EA6-DF929625EA0E}">
        <p15:presenceInfo xmlns:p15="http://schemas.microsoft.com/office/powerpoint/2012/main" userId="S::Reint-Jan.Groot-Nuelend@dsm.com::0bba0cc1-9cef-44bd-97d5-b9e6c25b5bf6" providerId="AD"/>
      </p:ext>
    </p:extLst>
  </p:cmAuthor>
  <p:cmAuthor id="1" name="Gerzon, Carin" initials="GC" lastIdx="24" clrIdx="0">
    <p:extLst>
      <p:ext uri="{19B8F6BF-5375-455C-9EA6-DF929625EA0E}">
        <p15:presenceInfo xmlns:p15="http://schemas.microsoft.com/office/powerpoint/2012/main" userId="S-1-5-21-2573208799-187067640-1722879566-469061" providerId="AD"/>
      </p:ext>
    </p:extLst>
  </p:cmAuthor>
  <p:cmAuthor id="2" name="Kroon, Caroline" initials="KC" lastIdx="16" clrIdx="1">
    <p:extLst>
      <p:ext uri="{19B8F6BF-5375-455C-9EA6-DF929625EA0E}">
        <p15:presenceInfo xmlns:p15="http://schemas.microsoft.com/office/powerpoint/2012/main" userId="S-1-5-21-2573208799-187067640-1722879566-6143" providerId="AD"/>
      </p:ext>
    </p:extLst>
  </p:cmAuthor>
  <p:cmAuthor id="3" name="Brouns, Ellis" initials="BE" lastIdx="10" clrIdx="2">
    <p:extLst>
      <p:ext uri="{19B8F6BF-5375-455C-9EA6-DF929625EA0E}">
        <p15:presenceInfo xmlns:p15="http://schemas.microsoft.com/office/powerpoint/2012/main" userId="S-1-5-21-2573208799-187067640-1722879566-480915" providerId="AD"/>
      </p:ext>
    </p:extLst>
  </p:cmAuthor>
  <p:cmAuthor id="4" name="Koolhoven, Liza" initials="KL" lastIdx="112" clrIdx="3">
    <p:extLst>
      <p:ext uri="{19B8F6BF-5375-455C-9EA6-DF929625EA0E}">
        <p15:presenceInfo xmlns:p15="http://schemas.microsoft.com/office/powerpoint/2012/main" userId="S-1-5-21-2573208799-187067640-1722879566-500762" providerId="AD"/>
      </p:ext>
    </p:extLst>
  </p:cmAuthor>
  <p:cmAuthor id="5" name="Koolhoven, Liza" initials="KL [2]" lastIdx="20" clrIdx="4">
    <p:extLst>
      <p:ext uri="{19B8F6BF-5375-455C-9EA6-DF929625EA0E}">
        <p15:presenceInfo xmlns:p15="http://schemas.microsoft.com/office/powerpoint/2012/main" userId="S::liza.koolhoven@dsm.com::0320a5cc-c1c6-4685-b126-8a7fdd6a50e5" providerId="AD"/>
      </p:ext>
    </p:extLst>
  </p:cmAuthor>
  <p:cmAuthor id="6" name="Anne de Weerd" initials="AdW" lastIdx="1" clrIdx="5">
    <p:extLst>
      <p:ext uri="{19B8F6BF-5375-455C-9EA6-DF929625EA0E}">
        <p15:presenceInfo xmlns:p15="http://schemas.microsoft.com/office/powerpoint/2012/main" userId="59cbfca0dd96c1e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BA"/>
    <a:srgbClr val="FFFFFF"/>
    <a:srgbClr val="45AC34"/>
    <a:srgbClr val="009FE3"/>
    <a:srgbClr val="007E4B"/>
    <a:srgbClr val="E51F22"/>
    <a:srgbClr val="F57922"/>
    <a:srgbClr val="521B65"/>
    <a:srgbClr val="BD0A79"/>
    <a:srgbClr val="A8A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A8C3D63-C449-4F57-B5E8-D3D34232B30B}" v="3" dt="2022-02-21T17:22:08.324"/>
  </p1510:revLst>
</p1510:revInfo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0058" autoAdjust="0"/>
  </p:normalViewPr>
  <p:slideViewPr>
    <p:cSldViewPr snapToGrid="0">
      <p:cViewPr varScale="1">
        <p:scale>
          <a:sx n="139" d="100"/>
          <a:sy n="139" d="100"/>
        </p:scale>
        <p:origin x="3246" y="12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slide" Target="slides/slide2.xml"/><Relationship Id="rId26" Type="http://schemas.openxmlformats.org/officeDocument/2006/relationships/font" Target="fonts/font4.fntdata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34" Type="http://schemas.openxmlformats.org/officeDocument/2006/relationships/font" Target="fonts/font12.fntdata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1.xml"/><Relationship Id="rId25" Type="http://schemas.openxmlformats.org/officeDocument/2006/relationships/font" Target="fonts/font3.fntdata"/><Relationship Id="rId33" Type="http://schemas.openxmlformats.org/officeDocument/2006/relationships/font" Target="fonts/font11.fntdata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2.xml"/><Relationship Id="rId20" Type="http://schemas.openxmlformats.org/officeDocument/2006/relationships/slide" Target="slides/slide4.xml"/><Relationship Id="rId29" Type="http://schemas.openxmlformats.org/officeDocument/2006/relationships/font" Target="fonts/font7.fntdata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font" Target="fonts/font2.fntdata"/><Relationship Id="rId32" Type="http://schemas.openxmlformats.org/officeDocument/2006/relationships/font" Target="fonts/font10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Master" Target="slideMasters/slideMaster11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36" Type="http://schemas.openxmlformats.org/officeDocument/2006/relationships/commentAuthors" Target="commentAuthors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3.xml"/><Relationship Id="rId31" Type="http://schemas.openxmlformats.org/officeDocument/2006/relationships/font" Target="fonts/font9.fntdata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Master" Target="slideMasters/slideMaster10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ED05F98-8FE9-4C51-8F0A-394EF09012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1FD1A1-59D5-40C7-823F-56BE542DBB1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1C049C-A639-47B5-949D-51F799AC2066}" type="datetimeFigureOut">
              <a:rPr lang="en-GB" smtClean="0"/>
              <a:t>21/02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2C5951-2E22-4966-BEB0-91FE304B6E7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CE7350-9F92-44B0-B468-AC29821C54E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851C59-9121-4008-863D-396F74F34C1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7232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Fira Sans" panose="020B060402020202020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Fira Sans" panose="020B0604020202020204" charset="0"/>
              </a:defRPr>
            </a:lvl1pPr>
          </a:lstStyle>
          <a:p>
            <a:fld id="{41FB43FB-DCDA-AE47-AEEB-A7052222BB2E}" type="datetimeFigureOut">
              <a:rPr lang="en-US" smtClean="0"/>
              <a:pPr/>
              <a:t>2/2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Fira Sans" panose="020B060402020202020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Fira Sans" panose="020B0604020202020204" charset="0"/>
              </a:defRPr>
            </a:lvl1pPr>
          </a:lstStyle>
          <a:p>
            <a:fld id="{FDEA1EC3-38D3-9F43-B1F0-97D892A72D0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1598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3413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7059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42816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5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7" Type="http://schemas.openxmlformats.org/officeDocument/2006/relationships/image" Target="../media/image3.png"/><Relationship Id="rId2" Type="http://schemas.openxmlformats.org/officeDocument/2006/relationships/tags" Target="../tags/tag205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08.xml"/><Relationship Id="rId7" Type="http://schemas.openxmlformats.org/officeDocument/2006/relationships/image" Target="../media/image4.png"/><Relationship Id="rId2" Type="http://schemas.openxmlformats.org/officeDocument/2006/relationships/tags" Target="../tags/tag207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3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.pn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4.xml"/><Relationship Id="rId7" Type="http://schemas.openxmlformats.org/officeDocument/2006/relationships/image" Target="../media/image7.png"/><Relationship Id="rId2" Type="http://schemas.openxmlformats.org/officeDocument/2006/relationships/tags" Target="../tags/tag213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216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11.emf"/><Relationship Id="rId2" Type="http://schemas.openxmlformats.org/officeDocument/2006/relationships/tags" Target="../tags/tag233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3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7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9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5.xml"/><Relationship Id="rId7" Type="http://schemas.openxmlformats.org/officeDocument/2006/relationships/image" Target="../media/image8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7.xml"/><Relationship Id="rId7" Type="http://schemas.openxmlformats.org/officeDocument/2006/relationships/image" Target="../media/image9.png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9.xml"/><Relationship Id="rId7" Type="http://schemas.openxmlformats.org/officeDocument/2006/relationships/image" Target="../media/image10.png"/><Relationship Id="rId2" Type="http://schemas.openxmlformats.org/officeDocument/2006/relationships/tags" Target="../tags/tag78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1.xml"/><Relationship Id="rId7" Type="http://schemas.openxmlformats.org/officeDocument/2006/relationships/image" Target="../media/image7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3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27.xml"/><Relationship Id="rId7" Type="http://schemas.openxmlformats.org/officeDocument/2006/relationships/image" Target="../media/image7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1.xml"/><Relationship Id="rId7" Type="http://schemas.openxmlformats.org/officeDocument/2006/relationships/image" Target="../media/image7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1.xml"/><Relationship Id="rId7" Type="http://schemas.openxmlformats.org/officeDocument/2006/relationships/image" Target="../media/image7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6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7.xml"/><Relationship Id="rId7" Type="http://schemas.openxmlformats.org/officeDocument/2006/relationships/image" Target="../media/image8.png"/><Relationship Id="rId2" Type="http://schemas.openxmlformats.org/officeDocument/2006/relationships/tags" Target="../tags/tag156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79.xml"/><Relationship Id="rId7" Type="http://schemas.openxmlformats.org/officeDocument/2006/relationships/image" Target="../media/image8.png"/><Relationship Id="rId2" Type="http://schemas.openxmlformats.org/officeDocument/2006/relationships/tags" Target="../tags/tag178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1.emf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1FE3D0-05F6-46C1-A5EA-B2DE3515B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44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1FE3D0-05F6-46C1-A5EA-B2DE3515B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48407E-796A-40CA-AB97-FD69035658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-199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3EA9692-0ED5-484D-87E7-AB6028AFB4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6EAFA9-6F43-6C47-B02C-42F4DA83E1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237654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2 columns w/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1714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2232000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2232000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4F5A02-45AE-457C-93B5-134D4CA14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626E5D-46A4-4917-94D9-76F8EC00A8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201B17D-2F65-4670-BFA9-9258870A74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251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 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1EB234-5D8E-472D-AFF8-9F39501AC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3269602-6D9D-4AB3-B9E6-58FC9FE588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2085674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ouble-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7A6A30-C973-624B-981E-72C6F2C89E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Header (Trebuchet Bold 32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20F73D-8F0A-C245-8C2E-E58A4DFF24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7999" y="2232000"/>
            <a:ext cx="5486401" cy="2677656"/>
          </a:xfr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/>
            </a:lvl1pPr>
            <a:lvl2pPr marL="0" indent="0">
              <a:buNone/>
              <a:defRPr/>
            </a:lvl2pPr>
            <a:lvl3pPr marL="0"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>
                <a:solidFill>
                  <a:srgbClr val="521B65"/>
                </a:solidFill>
              </a:defRPr>
            </a:lvl3pPr>
          </a:lstStyle>
          <a:p>
            <a:pPr lvl="0"/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, convallis </a:t>
            </a:r>
            <a:r>
              <a:rPr lang="en-US" err="1"/>
              <a:t>ut</a:t>
            </a:r>
            <a:endParaRPr lang="en-US"/>
          </a:p>
          <a:p>
            <a:pPr lvl="0"/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, lorem</a:t>
            </a:r>
          </a:p>
          <a:p>
            <a:pPr lvl="0"/>
            <a:r>
              <a:rPr lang="en-US"/>
              <a:t>Lorem ipsum dolor sit </a:t>
            </a:r>
          </a:p>
          <a:p>
            <a:pPr lvl="0"/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 err="1"/>
              <a:t>Suspendisse</a:t>
            </a:r>
            <a:r>
              <a:rPr lang="en-US"/>
              <a:t> ante est. Nam dolor</a:t>
            </a:r>
          </a:p>
          <a:p>
            <a:pPr lvl="0"/>
            <a:r>
              <a:rPr lang="en-US" err="1"/>
              <a:t>Aliquam</a:t>
            </a:r>
            <a:r>
              <a:rPr lang="en-US"/>
              <a:t> fermentum. </a:t>
            </a:r>
            <a:r>
              <a:rPr lang="en-US" err="1"/>
              <a:t>Nullam</a:t>
            </a:r>
            <a:r>
              <a:rPr lang="en-US"/>
              <a:t> </a:t>
            </a:r>
          </a:p>
          <a:p>
            <a:pPr lvl="0"/>
            <a:r>
              <a:rPr lang="en-US"/>
              <a:t>convallis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tristique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Fira</a:t>
            </a:r>
            <a:r>
              <a:rPr lang="en-US"/>
              <a:t> Sans 18pt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8A26E-A55A-DF4E-A7F6-B8DAAAAC1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228000"/>
            <a:ext cx="2743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fld id="{E118D48E-C7CB-6244-969D-7BAEA9B6226C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1996CA8-D140-9F48-A337-12091286CE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278000"/>
            <a:ext cx="5486400" cy="73866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accent6"/>
                </a:solidFill>
                <a:latin typeface="Trebuchet MS" panose="020B0703020202090204" pitchFamily="34" charset="0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</a:t>
            </a:r>
            <a:br>
              <a:rPr lang="en-US"/>
            </a:br>
            <a:r>
              <a:rPr lang="en-US"/>
              <a:t>(Trebuchet Bold 2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90BF770-2E16-274D-94AE-5380331E268F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336000" y="2232000"/>
            <a:ext cx="5271095" cy="2677656"/>
          </a:xfr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/>
            </a:lvl1pPr>
            <a:lvl2pPr marL="0" indent="0">
              <a:buNone/>
              <a:defRPr/>
            </a:lvl2pPr>
            <a:lvl3pPr marL="0"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>
                <a:solidFill>
                  <a:srgbClr val="521B65"/>
                </a:solidFill>
              </a:defRPr>
            </a:lvl3pPr>
          </a:lstStyle>
          <a:p>
            <a:pPr lvl="0"/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, convallis </a:t>
            </a:r>
            <a:r>
              <a:rPr lang="en-US" err="1"/>
              <a:t>ut</a:t>
            </a:r>
            <a:endParaRPr lang="en-US"/>
          </a:p>
          <a:p>
            <a:pPr lvl="0"/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, lorem</a:t>
            </a:r>
          </a:p>
          <a:p>
            <a:pPr lvl="0"/>
            <a:r>
              <a:rPr lang="en-US"/>
              <a:t>Lorem ipsum dolor sit </a:t>
            </a:r>
          </a:p>
          <a:p>
            <a:pPr lvl="0"/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 err="1"/>
              <a:t>Suspendisse</a:t>
            </a:r>
            <a:r>
              <a:rPr lang="en-US"/>
              <a:t> ante est. Nam dolor</a:t>
            </a:r>
          </a:p>
          <a:p>
            <a:pPr lvl="0"/>
            <a:r>
              <a:rPr lang="en-US" err="1"/>
              <a:t>Aliquam</a:t>
            </a:r>
            <a:r>
              <a:rPr lang="en-US"/>
              <a:t> fermentum. </a:t>
            </a:r>
            <a:r>
              <a:rPr lang="en-US" err="1"/>
              <a:t>Nullam</a:t>
            </a:r>
            <a:r>
              <a:rPr lang="en-US"/>
              <a:t> </a:t>
            </a:r>
          </a:p>
          <a:p>
            <a:pPr lvl="0"/>
            <a:r>
              <a:rPr lang="en-US"/>
              <a:t>convallis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tristique</a:t>
            </a:r>
            <a:br>
              <a:rPr lang="en-US"/>
            </a:br>
            <a:r>
              <a:rPr lang="en-US"/>
              <a:t>(</a:t>
            </a:r>
            <a:r>
              <a:rPr lang="en-US" err="1"/>
              <a:t>Fira</a:t>
            </a:r>
            <a:r>
              <a:rPr lang="en-US"/>
              <a:t> Sans 18pt)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E6BEED7-FA74-1847-B528-940FF9B68A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36000" y="1278000"/>
            <a:ext cx="5271094" cy="73866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accent6"/>
                </a:solidFill>
                <a:latin typeface="Trebuchet MS" panose="020B0703020202090204" pitchFamily="34" charset="0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</a:t>
            </a:r>
            <a:br>
              <a:rPr lang="en-US"/>
            </a:br>
            <a:r>
              <a:rPr lang="en-US"/>
              <a:t>(Trebuchet Bold 2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3996257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7A6A30-C973-624B-981E-72C6F2C89E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7020000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mage slide option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20F73D-8F0A-C245-8C2E-E58A4DFF24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7999" y="1800000"/>
            <a:ext cx="7020000" cy="180562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 marL="0" indent="0">
              <a:buNone/>
              <a:defRPr/>
            </a:lvl2pPr>
            <a:lvl3pPr marL="0"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, convallis </a:t>
            </a:r>
            <a:r>
              <a:rPr lang="en-US" err="1"/>
              <a:t>ut</a:t>
            </a:r>
            <a:r>
              <a:rPr lang="en-US"/>
              <a:t>,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, lorem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  <a:p>
            <a:pPr lvl="2"/>
            <a:r>
              <a:rPr lang="en-US" err="1"/>
              <a:t>Suspendisse</a:t>
            </a:r>
            <a:r>
              <a:rPr lang="en-US"/>
              <a:t> ante est. Nam dolor. </a:t>
            </a:r>
            <a:r>
              <a:rPr lang="en-US" err="1"/>
              <a:t>Aliquam</a:t>
            </a:r>
            <a:r>
              <a:rPr lang="en-US"/>
              <a:t> fermentum. </a:t>
            </a:r>
            <a:br>
              <a:rPr lang="en-US"/>
            </a:br>
            <a:r>
              <a:rPr lang="en-US" err="1"/>
              <a:t>Nullam</a:t>
            </a:r>
            <a:r>
              <a:rPr lang="en-US"/>
              <a:t> convallis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8A26E-A55A-DF4E-A7F6-B8DAAAAC1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228000"/>
            <a:ext cx="2743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fld id="{E118D48E-C7CB-6244-969D-7BAEA9B6226C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1996CA8-D140-9F48-A337-12091286CE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080000"/>
            <a:ext cx="7020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accent6"/>
                </a:solidFill>
                <a:latin typeface="Trebuchet MS" panose="020B0703020202090204" pitchFamily="34" charset="0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age occupies one third slide width</a:t>
            </a: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143596761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7A6A30-C973-624B-981E-72C6F2C89E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5220000" cy="443198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Image slide option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20F73D-8F0A-C245-8C2E-E58A4DFF24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7999" y="1800000"/>
            <a:ext cx="5220000" cy="266739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 marL="0" indent="0">
              <a:buNone/>
              <a:defRPr/>
            </a:lvl2pPr>
            <a:lvl3pPr marL="0"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, convallis </a:t>
            </a:r>
            <a:r>
              <a:rPr lang="en-US" err="1"/>
              <a:t>ut</a:t>
            </a:r>
            <a:r>
              <a:rPr lang="en-US"/>
              <a:t>,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, lorem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  <a:p>
            <a:pPr lvl="2"/>
            <a:r>
              <a:rPr lang="en-US" err="1"/>
              <a:t>Suspendisse</a:t>
            </a:r>
            <a:r>
              <a:rPr lang="en-US"/>
              <a:t> ante est. Nam dolor. </a:t>
            </a:r>
            <a:r>
              <a:rPr lang="en-US" err="1"/>
              <a:t>Aliquam</a:t>
            </a:r>
            <a:r>
              <a:rPr lang="en-US"/>
              <a:t> fermentum. </a:t>
            </a:r>
            <a:r>
              <a:rPr lang="en-US" err="1"/>
              <a:t>Nullam</a:t>
            </a:r>
            <a:r>
              <a:rPr lang="en-US"/>
              <a:t> convallis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8A26E-A55A-DF4E-A7F6-B8DAAAAC1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228000"/>
            <a:ext cx="2743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fld id="{E118D48E-C7CB-6244-969D-7BAEA9B6226C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1996CA8-D140-9F48-A337-12091286CE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080000"/>
            <a:ext cx="5220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accent6"/>
                </a:solidFill>
                <a:latin typeface="Trebuchet MS" panose="020B0703020202090204" pitchFamily="34" charset="0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Image occupies half slide width</a:t>
            </a: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3E210B19-5567-EC4C-82D7-46BB7017165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auto">
          <a:xfrm>
            <a:off x="6097411" y="0"/>
            <a:ext cx="6094589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</p:spTree>
    <p:extLst>
      <p:ext uri="{BB962C8B-B14F-4D97-AF65-F5344CB8AC3E}">
        <p14:creationId xmlns:p14="http://schemas.microsoft.com/office/powerpoint/2010/main" val="14262371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6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/>
              <a:t>Click icon to ad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7A6A30-C973-624B-981E-72C6F2C89E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5004545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mage slide option 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20F73D-8F0A-C245-8C2E-E58A4DFF24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8000" y="1102199"/>
            <a:ext cx="5004546" cy="553998"/>
          </a:xfr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  <a:lvl3pPr marL="0"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Dark green gradient is used.</a:t>
            </a:r>
            <a:br>
              <a:rPr lang="en-US"/>
            </a:br>
            <a:r>
              <a:rPr lang="en-US"/>
              <a:t>For other gradients, see the final slides in this PPT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8A26E-A55A-DF4E-A7F6-B8DAAAAC1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228000"/>
            <a:ext cx="2743200" cy="18466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87926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7E831D1-F71B-DE42-857A-CE748780CD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4DB74DE-8EFE-384A-9E08-624547D174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922" y="3190484"/>
            <a:ext cx="5612156" cy="477033"/>
          </a:xfrm>
          <a:prstGeom prst="rect">
            <a:avLst/>
          </a:prstGeom>
        </p:spPr>
      </p:pic>
      <p:pic>
        <p:nvPicPr>
          <p:cNvPr id="8" name="Afbeelding 9">
            <a:extLst>
              <a:ext uri="{FF2B5EF4-FFF2-40B4-BE49-F238E27FC236}">
                <a16:creationId xmlns:a16="http://schemas.microsoft.com/office/drawing/2014/main" id="{C50C46FB-E77D-6443-8B16-CEAF95E9C45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2925" y="5793193"/>
            <a:ext cx="3887784" cy="1083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4215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3453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9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4747189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single-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7A6A30-C973-624B-981E-72C6F2C89E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er (Trebuchet Bold 32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20F73D-8F0A-C245-8C2E-E58A4DFF24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7999" y="1800000"/>
            <a:ext cx="11139093" cy="180562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 marL="0" indent="0">
              <a:buNone/>
              <a:defRPr/>
            </a:lvl2pPr>
            <a:lvl3pPr marL="0"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3pPr>
          </a:lstStyle>
          <a:p>
            <a:pPr lvl="0"/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, convallis </a:t>
            </a:r>
            <a:r>
              <a:rPr lang="en-US" err="1"/>
              <a:t>ut</a:t>
            </a:r>
            <a:r>
              <a:rPr lang="en-US"/>
              <a:t>,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, lorem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  <a:p>
            <a:pPr lvl="2"/>
            <a:r>
              <a:rPr lang="en-US" err="1"/>
              <a:t>Suspendisse</a:t>
            </a:r>
            <a:r>
              <a:rPr lang="en-US"/>
              <a:t> ante est. Nam dolor. </a:t>
            </a:r>
            <a:r>
              <a:rPr lang="en-US" err="1"/>
              <a:t>Aliquam</a:t>
            </a:r>
            <a:r>
              <a:rPr lang="en-US"/>
              <a:t> fermentum. </a:t>
            </a:r>
            <a:br>
              <a:rPr lang="en-US"/>
            </a:br>
            <a:r>
              <a:rPr lang="en-US" err="1"/>
              <a:t>Nullam</a:t>
            </a:r>
            <a:r>
              <a:rPr lang="en-US"/>
              <a:t> convallis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8A26E-A55A-DF4E-A7F6-B8DAAAAC1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228000"/>
            <a:ext cx="2743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fld id="{E118D48E-C7CB-6244-969D-7BAEA9B6226C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1996CA8-D140-9F48-A337-12091286CE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080000"/>
            <a:ext cx="1113909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 (Trebuchet Bold 2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6839066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1FE3D0-05F6-46C1-A5EA-B2DE3515B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9807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1FE3D0-05F6-46C1-A5EA-B2DE3515B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48407E-796A-40CA-AB97-FD69035658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-199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3EA9692-0ED5-484D-87E7-AB6028AFB4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6EAFA9-6F43-6C47-B02C-42F4DA83E1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324945871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30FEF9-13C6-49AD-BADC-B222739050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618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30FEF9-13C6-49AD-BADC-B22273905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6CC9449-DAE9-4B33-8F63-09E10883ED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AB7205D-F54E-6745-9EB7-B1839964D81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out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auto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F87B3A-229C-F140-8380-D91564A36F0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auto">
          <a:xfrm>
            <a:off x="540000" y="6048369"/>
            <a:ext cx="2949512" cy="1390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1CBB47-F02A-2346-8EA8-8352E7AFC2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alphaModFix/>
          </a:blip>
          <a:srcRect b="17176"/>
          <a:stretch/>
        </p:blipFill>
        <p:spPr bwMode="auto"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28F039EC-ED76-4766-8537-03B353F231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5DA9896-9655-46F6-A88D-087362D557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354567078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470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52539A8-3270-4B01-8144-98B9A7185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46C7AD5-0DD3-406F-ACB9-ACABB0D58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12DA6DC-0102-4FB2-A547-D52FC941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9A730C8-66A5-4822-B3D3-B4581797F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783344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3682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073499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AB7205D-F54E-6745-9EB7-B1839964D8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ltGray"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8EBEAFB-93C3-074C-9906-1D124DCCA6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923" y="3190484"/>
            <a:ext cx="5612156" cy="4770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5E17CF1-21EE-4F02-912D-E11EFDC99D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03124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out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D6A35BF-C8EA-C34D-9AEA-AAF6BE4467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348656F6-EA8A-BE42-989B-9D3FE3295A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999" y="1920787"/>
            <a:ext cx="5345793" cy="2243691"/>
          </a:xfrm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itle slide</a:t>
            </a:r>
            <a:br>
              <a:rPr lang="en-US"/>
            </a:br>
            <a:r>
              <a:rPr lang="en-US"/>
              <a:t>without an imag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BC8FD63-94B2-B649-BCD0-7666524524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4350702"/>
            <a:ext cx="914400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his is a subtitle of your presentation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A17D3CD3-2DE2-CD46-A74C-7FB423AB8E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4806802"/>
            <a:ext cx="5345792" cy="22711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138117432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48752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396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3B8A5-F0B9-4B92-9033-C0E5FF13399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3"/>
          </a:xfrm>
        </p:spPr>
        <p:txBody>
          <a:bodyPr/>
          <a:lstStyle>
            <a:lvl1pPr marL="0" indent="0" algn="l" rtl="0">
              <a:buNone/>
              <a:defRPr sz="2398">
                <a:solidFill>
                  <a:schemeClr val="bg1"/>
                </a:solidFill>
                <a:latin typeface="+mn-lt"/>
              </a:defRPr>
            </a:lvl1pPr>
            <a:lvl2pPr marL="456777" indent="0" algn="ctr">
              <a:buNone/>
              <a:defRPr sz="1998"/>
            </a:lvl2pPr>
            <a:lvl3pPr marL="913554" indent="0" algn="ctr">
              <a:buNone/>
              <a:defRPr sz="1798"/>
            </a:lvl3pPr>
            <a:lvl4pPr marL="1370331" indent="0" algn="ctr">
              <a:buNone/>
              <a:defRPr sz="1599"/>
            </a:lvl4pPr>
            <a:lvl5pPr marL="1827108" indent="0" algn="ctr">
              <a:buNone/>
              <a:defRPr sz="1599"/>
            </a:lvl5pPr>
            <a:lvl6pPr marL="2283885" indent="0" algn="ctr">
              <a:buNone/>
              <a:defRPr sz="1599"/>
            </a:lvl6pPr>
            <a:lvl7pPr marL="2740663" indent="0" algn="ctr">
              <a:buNone/>
              <a:defRPr sz="1599"/>
            </a:lvl7pPr>
            <a:lvl8pPr marL="3197440" indent="0" algn="ctr">
              <a:buNone/>
              <a:defRPr sz="1599"/>
            </a:lvl8pPr>
            <a:lvl9pPr marL="3654217" indent="0" algn="ctr">
              <a:buNone/>
              <a:defRPr sz="1599"/>
            </a:lvl9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E11780-2DEF-46A1-931C-FE31AE9DB4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540001"/>
            <a:ext cx="9144000" cy="1218795"/>
          </a:xfrm>
          <a:prstGeom prst="rect">
            <a:avLst/>
          </a:prstGeom>
        </p:spPr>
        <p:txBody>
          <a:bodyPr vert="horz" anchor="t" anchorCtr="0"/>
          <a:lstStyle>
            <a:lvl1pPr algn="l" rtl="0">
              <a:defRPr sz="4396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Divider slide</a:t>
            </a:r>
            <a:br>
              <a:rPr lang="en-US" noProof="0" dirty="0"/>
            </a:br>
            <a:r>
              <a:rPr lang="en-US" noProof="0" dirty="0"/>
              <a:t>without an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4" y="5940447"/>
            <a:ext cx="3499327" cy="917553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85137F-B8FB-48C3-B162-ABBE7B987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39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EA4E02A-F812-44E1-930E-E387B9F33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1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199">
                <a:solidFill>
                  <a:schemeClr val="bg1"/>
                </a:solidFill>
                <a:latin typeface="+mj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99134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859834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197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4" y="1800226"/>
            <a:ext cx="11258863" cy="156966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 dirty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39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1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199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18586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16722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197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 dirty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4" y="1800226"/>
            <a:ext cx="11258863" cy="156966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1" y="936875"/>
            <a:ext cx="11258863" cy="369333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398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 dirty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39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1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199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7641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682823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197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4" y="1800226"/>
            <a:ext cx="5391177" cy="156966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1" y="1800226"/>
            <a:ext cx="5391177" cy="156966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1" y="936875"/>
            <a:ext cx="11258863" cy="369333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398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 dirty="0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 dirty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9106C1-A74E-4316-9285-24C2D5F0D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39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D8AFE70-5132-4474-A761-AC2C2E786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1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199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60992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2 columns w/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412845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3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197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4" y="2232000"/>
            <a:ext cx="5391177" cy="156966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1" y="2232000"/>
            <a:ext cx="5391177" cy="156966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4F5A02-45AE-457C-93B5-134D4CA14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 dirty="0"/>
              <a:t>Head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626E5D-46A4-4917-94D9-76F8EC00A8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69732"/>
            <a:ext cx="5391491" cy="369333"/>
          </a:xfrm>
        </p:spPr>
        <p:txBody>
          <a:bodyPr anchor="b"/>
          <a:lstStyle>
            <a:lvl1pPr marL="0" indent="0" rtl="0">
              <a:spcAft>
                <a:spcPts val="0"/>
              </a:spcAft>
              <a:buNone/>
              <a:defRPr sz="2398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 dirty="0"/>
              <a:t>Sub header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201B17D-2F65-4670-BFA9-9258870A74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2509" y="1769732"/>
            <a:ext cx="5391491" cy="369333"/>
          </a:xfrm>
        </p:spPr>
        <p:txBody>
          <a:bodyPr anchor="b"/>
          <a:lstStyle>
            <a:lvl1pPr marL="0" indent="0" rtl="0">
              <a:spcAft>
                <a:spcPts val="0"/>
              </a:spcAft>
              <a:buNone/>
              <a:defRPr sz="2398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 dirty="0"/>
              <a:t>Sub header 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1EB234-5D8E-472D-AFF8-9F39501AC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39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3269602-6D9D-4AB3-B9E6-58FC9FE588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1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199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30519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636102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197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1" y="2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 rtl="0">
              <a:buFontTx/>
              <a:buNone/>
              <a:defRPr sz="13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 dirty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4" y="1800226"/>
            <a:ext cx="6743124" cy="156966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1" y="468000"/>
            <a:ext cx="6743124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noProof="0" dirty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1" y="936875"/>
            <a:ext cx="6743124" cy="369333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398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 dirty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39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199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95099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BAB836-C9B1-4F02-BEDD-1902625C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323832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BAB836-C9B1-4F02-BEDD-1902625C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0C3687-36C5-4171-B057-305596933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197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3E210B19-5567-EC4C-82D7-46BB7017165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auto">
          <a:xfrm>
            <a:off x="6097412" y="1"/>
            <a:ext cx="6094589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 rtl="0">
              <a:buFontTx/>
              <a:buNone/>
              <a:defRPr sz="13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 dirty="0"/>
              <a:t>Click icon to add imag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355D142-E307-46D2-ABBE-A69BC17C24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6"/>
            <a:ext cx="5158635" cy="156966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0150C5-668E-4AF4-8FA1-109F47087E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1" y="468000"/>
            <a:ext cx="5158947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noProof="0" dirty="0"/>
              <a:t>Header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E460FD4-C709-4C4E-8F84-D8A6C0957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1" y="936875"/>
            <a:ext cx="5158947" cy="369333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398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 dirty="0"/>
              <a:t>Sub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2B0F4B5-E5C2-4382-AED6-B70253040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39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7101D0A-2711-43A1-B0D0-D28DE6599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1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199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99659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39346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197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1" y="1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 rtl="0">
              <a:buNone/>
              <a:defRPr lang="en-US" sz="1399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1767" lvl="0" indent="-251767" algn="ctr"/>
            <a:r>
              <a:rPr lang="en-US" noProof="0" dirty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0"/>
            <a:ext cx="11259176" cy="369333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398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 dirty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39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801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199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2542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BAB836-C9B1-4F02-BEDD-1902625C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5284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BAB836-C9B1-4F02-BEDD-1902625C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0C3687-36C5-4171-B057-305596933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3E210B19-5567-EC4C-82D7-46BB7017165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auto">
          <a:xfrm>
            <a:off x="6097411" y="0"/>
            <a:ext cx="6094589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355D142-E307-46D2-ABBE-A69BC17C24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15863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0150C5-668E-4AF4-8FA1-109F47087E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5158947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E460FD4-C709-4C4E-8F84-D8A6C0957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5158947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2B0F4B5-E5C2-4382-AED6-B70253040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7101D0A-2711-43A1-B0D0-D28DE6599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8971769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247409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197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 dirty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39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1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199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554364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211882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197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1" y="936875"/>
            <a:ext cx="11258863" cy="369333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398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 dirty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39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1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199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BFBD3E-297D-4BC3-94BA-F7DADB32A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 dirty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118775070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C1B962-56D1-4820-A24D-BFD08D366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939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2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C1B962-56D1-4820-A24D-BFD08D366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1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 rtl="0">
              <a:buNone/>
              <a:defRPr sz="13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176"/>
          <a:stretch/>
        </p:blipFill>
        <p:spPr>
          <a:xfrm>
            <a:off x="2524497" y="4654297"/>
            <a:ext cx="9694937" cy="2213189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CE3FF25-D148-A545-96F3-3AB1474463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1" y="1920787"/>
            <a:ext cx="5345793" cy="2243692"/>
          </a:xfrm>
        </p:spPr>
        <p:txBody>
          <a:bodyPr vert="horz" anchor="b" anchorCtr="0"/>
          <a:lstStyle>
            <a:lvl1pPr algn="l" rtl="0">
              <a:defRPr sz="539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without an imag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ED5A7C32-6322-E649-AB2D-15AE7B7CF93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4350702"/>
            <a:ext cx="9144000" cy="276999"/>
          </a:xfrm>
        </p:spPr>
        <p:txBody>
          <a:bodyPr/>
          <a:lstStyle>
            <a:lvl1pPr marL="0" indent="0" algn="l" rtl="0">
              <a:buNone/>
              <a:defRPr sz="1798">
                <a:solidFill>
                  <a:schemeClr val="bg1"/>
                </a:solidFill>
              </a:defRPr>
            </a:lvl1pPr>
            <a:lvl2pPr marL="456777" indent="0" algn="ctr">
              <a:buNone/>
              <a:defRPr sz="1998"/>
            </a:lvl2pPr>
            <a:lvl3pPr marL="913554" indent="0" algn="ctr">
              <a:buNone/>
              <a:defRPr sz="1798"/>
            </a:lvl3pPr>
            <a:lvl4pPr marL="1370331" indent="0" algn="ctr">
              <a:buNone/>
              <a:defRPr sz="1599"/>
            </a:lvl4pPr>
            <a:lvl5pPr marL="1827108" indent="0" algn="ctr">
              <a:buNone/>
              <a:defRPr sz="1599"/>
            </a:lvl5pPr>
            <a:lvl6pPr marL="2283885" indent="0" algn="ctr">
              <a:buNone/>
              <a:defRPr sz="1599"/>
            </a:lvl6pPr>
            <a:lvl7pPr marL="2740663" indent="0" algn="ctr">
              <a:buNone/>
              <a:defRPr sz="1599"/>
            </a:lvl7pPr>
            <a:lvl8pPr marL="3197440" indent="0" algn="ctr">
              <a:buNone/>
              <a:defRPr sz="1599"/>
            </a:lvl8pPr>
            <a:lvl9pPr marL="3654217" indent="0" algn="ctr">
              <a:buNone/>
              <a:defRPr sz="1599"/>
            </a:lvl9pPr>
          </a:lstStyle>
          <a:p>
            <a:r>
              <a:rPr lang="en-US" dirty="0"/>
              <a:t>This is a subtitle of your presentation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0E808384-C21D-8F44-A901-174200CC0B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4806803"/>
            <a:ext cx="5345792" cy="184494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he date and loc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DA4FFD6-A3B9-D141-893C-594803FFC74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001" y="530567"/>
            <a:ext cx="1587863" cy="377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18510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05888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197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4" y="1800226"/>
            <a:ext cx="5391177" cy="156966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1" y="1800226"/>
            <a:ext cx="5391177" cy="156966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1" y="936875"/>
            <a:ext cx="11258863" cy="369333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398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 dirty="0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 dirty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9106C1-A74E-4316-9285-24C2D5F0D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39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D8AFE70-5132-4474-A761-AC2C2E786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1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199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890955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single-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42B6E27-6AA5-4F74-9355-19B6619096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1508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0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42B6E27-6AA5-4F74-9355-19B6619096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7A6A30-C973-624B-981E-72C6F2C89E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Header (Trebuchet Bold 32 </a:t>
            </a:r>
            <a:r>
              <a:rPr lang="en-US" dirty="0" err="1"/>
              <a:t>pt</a:t>
            </a:r>
            <a:r>
              <a:rPr lang="en-US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20F73D-8F0A-C245-8C2E-E58A4DFF24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8000" y="1800002"/>
            <a:ext cx="11139093" cy="1805623"/>
          </a:xfrm>
        </p:spPr>
        <p:txBody>
          <a:bodyPr/>
          <a:lstStyle>
            <a:lvl1pPr rtl="0">
              <a:lnSpc>
                <a:spcPct val="100000"/>
              </a:lnSpc>
              <a:defRPr/>
            </a:lvl1pPr>
            <a:lvl2pPr marL="0" indent="0">
              <a:buNone/>
              <a:defRPr/>
            </a:lvl2pPr>
            <a:lvl3pPr marL="0" indent="0" rtl="0">
              <a:lnSpc>
                <a:spcPct val="100000"/>
              </a:lnSpc>
              <a:spcBef>
                <a:spcPts val="999"/>
              </a:spcBef>
              <a:buFont typeface="Arial" panose="020B0604020202020204" pitchFamily="34" charset="0"/>
              <a:buNone/>
              <a:defRPr sz="1998"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Donec </a:t>
            </a:r>
            <a:r>
              <a:rPr lang="en-US" dirty="0" err="1"/>
              <a:t>elit</a:t>
            </a:r>
            <a:r>
              <a:rPr lang="en-US" dirty="0"/>
              <a:t> eros, convallis </a:t>
            </a:r>
            <a:r>
              <a:rPr lang="en-US" dirty="0" err="1"/>
              <a:t>ut</a:t>
            </a:r>
            <a:r>
              <a:rPr lang="en-US" dirty="0"/>
              <a:t>,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eget</a:t>
            </a:r>
            <a:r>
              <a:rPr lang="en-US" dirty="0"/>
              <a:t>, </a:t>
            </a:r>
            <a:r>
              <a:rPr lang="en-US" dirty="0" err="1"/>
              <a:t>aliquet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, lorem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endParaRPr lang="en-US" dirty="0"/>
          </a:p>
          <a:p>
            <a:pPr lvl="0"/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  <a:p>
            <a:pPr lvl="2"/>
            <a:r>
              <a:rPr lang="en-US" dirty="0" err="1"/>
              <a:t>Suspendisse</a:t>
            </a:r>
            <a:r>
              <a:rPr lang="en-US" dirty="0"/>
              <a:t> ante est. Nam dolor. </a:t>
            </a:r>
            <a:r>
              <a:rPr lang="en-US" dirty="0" err="1"/>
              <a:t>Aliquam</a:t>
            </a:r>
            <a:r>
              <a:rPr lang="en-US" dirty="0"/>
              <a:t> fermentum. </a:t>
            </a:r>
            <a:br>
              <a:rPr lang="en-US" dirty="0"/>
            </a:br>
            <a:r>
              <a:rPr lang="en-US" dirty="0" err="1"/>
              <a:t>Nullam</a:t>
            </a:r>
            <a:r>
              <a:rPr lang="en-US" dirty="0"/>
              <a:t> convallis </a:t>
            </a:r>
            <a:r>
              <a:rPr lang="en-US" dirty="0" err="1"/>
              <a:t>urna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8A26E-A55A-DF4E-A7F6-B8DAAAAC1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228000"/>
            <a:ext cx="2743200" cy="184666"/>
          </a:xfrm>
          <a:prstGeom prst="rect">
            <a:avLst/>
          </a:prstGeom>
        </p:spPr>
        <p:txBody>
          <a:bodyPr>
            <a:spAutoFit/>
          </a:bodyPr>
          <a:lstStyle>
            <a:lvl1pPr rtl="0">
              <a:defRPr/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1996CA8-D140-9F48-A337-12091286CE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1" y="1080000"/>
            <a:ext cx="11139095" cy="369333"/>
          </a:xfrm>
        </p:spPr>
        <p:txBody>
          <a:bodyPr/>
          <a:lstStyle>
            <a:lvl1pPr marL="0" indent="0" rtl="0">
              <a:spcAft>
                <a:spcPts val="0"/>
              </a:spcAft>
              <a:buNone/>
              <a:defRPr sz="2398"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 (Trebuchet Bold 24 </a:t>
            </a:r>
            <a:r>
              <a:rPr lang="en-US" dirty="0" err="1"/>
              <a:t>pt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727797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0" advTm="20458"/>
    </mc:Choice>
    <mc:Fallback xmlns="">
      <p:transition spd="slow" advTm="20458"/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51210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197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4" y="1800226"/>
            <a:ext cx="11258863" cy="156966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 dirty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39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 rtl="0"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1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199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68224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ns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6089515" y="-1"/>
            <a:ext cx="6102485" cy="6858001"/>
          </a:xfrm>
          <a:prstGeom prst="rect">
            <a:avLst/>
          </a:prstGeom>
          <a:solidFill>
            <a:srgbClr val="D010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568888" y="1553734"/>
            <a:ext cx="5143500" cy="222432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568888" y="4029301"/>
            <a:ext cx="5143500" cy="1139757"/>
          </a:xfrm>
          <a:ln w="28575"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 flipV="1">
            <a:off x="6568888" y="3886200"/>
            <a:ext cx="5143500" cy="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4383" y="569730"/>
            <a:ext cx="1888005" cy="414275"/>
          </a:xfrm>
          <a:prstGeom prst="rect">
            <a:avLst/>
          </a:prstGeom>
        </p:spPr>
      </p:pic>
      <p:pic>
        <p:nvPicPr>
          <p:cNvPr id="12" name="Kuvan paikkamerkki 7">
            <a:extLst>
              <a:ext uri="{FF2B5EF4-FFF2-40B4-BE49-F238E27FC236}">
                <a16:creationId xmlns:a16="http://schemas.microsoft.com/office/drawing/2014/main" id="{922C8C04-E217-4AAC-AD5F-1DD7F94B93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853" r="-1"/>
          <a:stretch/>
        </p:blipFill>
        <p:spPr>
          <a:xfrm>
            <a:off x="-234669" y="0"/>
            <a:ext cx="632431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03700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i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48708" y="267236"/>
            <a:ext cx="9902216" cy="701943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848708" y="1104117"/>
            <a:ext cx="10505092" cy="475879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40CDEF9-5DE1-5247-8A90-C407F6E701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54349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164378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5941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889195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4460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BFBD3E-297D-4BC3-94BA-F7DADB32A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12554023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2248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7A2F9F5E-5FD8-4EFB-A654-D48CBF418AF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0" y="3176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E11780-2DEF-46A1-931C-FE31AE9DB4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 slide</a:t>
            </a:r>
            <a:br>
              <a:rPr lang="en-US" noProof="0"/>
            </a:br>
            <a:r>
              <a:rPr lang="en-US" noProof="0"/>
              <a:t>without an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85137F-B8FB-48C3-B162-ABBE7B987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EA4E02A-F812-44E1-930E-E387B9F33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527803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052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418755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4444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256562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0059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1800225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9106C1-A74E-4316-9285-24C2D5F0D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D8AFE70-5132-4474-A761-AC2C2E786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08272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30FEF9-13C6-49AD-BADC-B222739050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9316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30FEF9-13C6-49AD-BADC-B22273905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6CC9449-DAE9-4B33-8F63-09E10883ED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AB7205D-F54E-6745-9EB7-B1839964D81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out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auto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F87B3A-229C-F140-8380-D91564A36F0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auto">
          <a:xfrm>
            <a:off x="540000" y="6048369"/>
            <a:ext cx="2949512" cy="1390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1CBB47-F02A-2346-8EA8-8352E7AFC2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alphaModFix/>
          </a:blip>
          <a:srcRect b="17176"/>
          <a:stretch/>
        </p:blipFill>
        <p:spPr bwMode="auto"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28F039EC-ED76-4766-8537-03B353F231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5DA9896-9655-46F6-A88D-087362D557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11555474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2 columns w/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68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2232000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2232000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4F5A02-45AE-457C-93B5-134D4CA14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626E5D-46A4-4917-94D9-76F8EC00A8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201B17D-2F65-4670-BFA9-9258870A74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251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 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1EB234-5D8E-472D-AFF8-9F39501AC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3269602-6D9D-4AB3-B9E6-58FC9FE588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553610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3433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Fira Sans" panose="020B0604020202020204" charset="0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190988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BAB836-C9B1-4F02-BEDD-1902625C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0621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BAB836-C9B1-4F02-BEDD-1902625C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0C3687-36C5-4171-B057-305596933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3E210B19-5567-EC4C-82D7-46BB7017165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auto">
          <a:xfrm>
            <a:off x="6097411" y="0"/>
            <a:ext cx="6094589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355D142-E307-46D2-ABBE-A69BC17C24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15863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0150C5-668E-4AF4-8FA1-109F47087E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5158947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E460FD4-C709-4C4E-8F84-D8A6C0957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5158947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Fira Sans" panose="020B0604020202020204" charset="0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2B0F4B5-E5C2-4382-AED6-B70253040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7101D0A-2711-43A1-B0D0-D28DE6599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338439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986667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779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046171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465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84399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3346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0E239558-B802-4198-9D8F-BFCA95DD863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E11780-2DEF-46A1-931C-FE31AE9DB4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 slide</a:t>
            </a:r>
            <a:br>
              <a:rPr lang="en-US" noProof="0"/>
            </a:br>
            <a:r>
              <a:rPr lang="en-US" noProof="0"/>
              <a:t>without an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D17C6FD-01FA-4A9A-BCB3-FA3E716033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86A7D13-394A-41A4-AFD0-FF5ACBE8D3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860257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8509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5E6CAF7-AA7B-48CD-A4C0-07C7BA0B98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A08D57-1059-4625-84A3-FC9B186C1A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25424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4985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7B1F6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04D2AE-D8FC-4883-952B-9B160868C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09B3139-830A-42FC-982D-93F956E503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750388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450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1800225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7B1F6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9690876-8EBB-489C-A31F-FC02533D24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7F72027-B12C-4F7B-8AAE-CD6FCA2643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108293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6029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52539A8-3270-4B01-8144-98B9A7185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46C7AD5-0DD3-406F-ACB9-ACABB0D58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12DA6DC-0102-4FB2-A547-D52FC941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9A730C8-66A5-4822-B3D3-B4581797F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014414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/ 2 columns w/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6598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2232000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2232000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4F5A02-45AE-457C-93B5-134D4CA14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626E5D-46A4-4917-94D9-76F8EC00A8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7B1F6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201B17D-2F65-4670-BFA9-9258870A74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251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7B1F6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4542FC4-93EB-4904-8E56-7CA647587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C7D8C3C-87EE-467D-9B7C-D049826014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3745188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9664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7B1F6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2DD0CD5-E082-494C-A1DB-C5E384D55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6762658-4C95-4B76-943D-CB8502F15E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796584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/ sub header,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BAB836-C9B1-4F02-BEDD-1902625C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9876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BAB836-C9B1-4F02-BEDD-1902625C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0C3687-36C5-4171-B057-305596933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3E210B19-5567-EC4C-82D7-46BB7017165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auto">
          <a:xfrm>
            <a:off x="6097411" y="0"/>
            <a:ext cx="6094589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355D142-E307-46D2-ABBE-A69BC17C24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15863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0150C5-668E-4AF4-8FA1-109F47087E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5158947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E460FD4-C709-4C4E-8F84-D8A6C0957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5158947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7B1F6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8F57D7B-5169-4933-82A3-A7D154A06A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6AABD1D-BCEB-443D-8FBB-9EEF75CAA5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125115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069393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9619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D7F9C30-41E1-4CFA-AA85-31039801A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4E6FA55-EA99-4C3E-A7FA-EE20C8F724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342615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86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7B1F62"/>
                </a:solidFill>
                <a:latin typeface="Fira Sans" panose="020B0604020202020204" charset="0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3708E97-A33C-4B50-B5CF-EB2D4E55D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BD4591D-B46E-4D56-9334-4ADB7652B6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442728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9060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39ED72-1B78-403B-8BBA-3135840D585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E11780-2DEF-46A1-931C-FE31AE9DB4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 slide</a:t>
            </a:r>
            <a:br>
              <a:rPr lang="en-US" noProof="0"/>
            </a:br>
            <a:r>
              <a:rPr lang="en-US" noProof="0"/>
              <a:t>without an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688BFF2-D3FE-4862-9854-63F3C290C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2590C77-0E23-4F72-A2E4-207031F77E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515674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348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1C5B119-A423-45F9-858E-10C997CF8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BB2D86A-0137-471B-9AD0-CFDEA490C1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886392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0850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7B1F6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506B1E7-B10B-478E-8CC5-5093A59F2F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1DB0E02-605F-4BFE-973E-7D2AFBF82D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086144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251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1800225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7B1F6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09B052C-4DCF-4AB6-A123-50FAA232E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B0C6A16-024D-43BE-8C42-F71C627109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167092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AB7205D-F54E-6745-9EB7-B1839964D8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ltGray"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8EBEAFB-93C3-074C-9906-1D124DCCA6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923" y="3190484"/>
            <a:ext cx="5612156" cy="4770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5E17CF1-21EE-4F02-912D-E11EFDC99D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70843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/ 2 columns w/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4929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2232000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2232000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4F5A02-45AE-457C-93B5-134D4CA14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626E5D-46A4-4917-94D9-76F8EC00A8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6798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7B1F6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201B17D-2F65-4670-BFA9-9258870A74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2510" y="176798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7B1F6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B814EA4-59E0-466A-B1AA-97E4A5AEF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3D8FE055-B670-4266-8F98-8EB968D5EC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523354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725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7B1F6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7AEB206-BBF2-4375-A1EC-DBAE5447C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A3EE9700-A340-41DE-A5EA-E943128633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902876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/ sub header,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BAB836-C9B1-4F02-BEDD-1902625C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108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BAB836-C9B1-4F02-BEDD-1902625C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0C3687-36C5-4171-B057-305596933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3E210B19-5567-EC4C-82D7-46BB7017165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auto">
          <a:xfrm>
            <a:off x="6097411" y="0"/>
            <a:ext cx="6094589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355D142-E307-46D2-ABBE-A69BC17C24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15863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0150C5-668E-4AF4-8FA1-109F47087E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5158947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E460FD4-C709-4C4E-8F84-D8A6C0957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5158947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7B1F6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7B6FACB-2F87-4D1A-B5B4-486CAEBEF7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188D071-8188-4F16-BAFA-CB55B4398C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545377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6112894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6585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AAE1CB1-F517-43D8-ABD1-6024387EB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E859F9D-8FD2-486D-8230-9DE0A415F1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100773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621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7B1F62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C0914D6-EFE6-418C-8E95-16405CAA9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A0A88CC-2962-4B7C-8EA4-F27B7EE7CE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532605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6756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3B8A5-F0B9-4B92-9033-C0E5FF13399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E11780-2DEF-46A1-931C-FE31AE9DB4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 slide</a:t>
            </a:r>
            <a:br>
              <a:rPr lang="en-US" noProof="0"/>
            </a:br>
            <a:r>
              <a:rPr lang="en-US" noProof="0"/>
              <a:t>without an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85137F-B8FB-48C3-B162-ABBE7B987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EA4E02A-F812-44E1-930E-E387B9F33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329518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0119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879848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1750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693816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3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1800225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9106C1-A74E-4316-9285-24C2D5F0D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D8AFE70-5132-4474-A761-AC2C2E786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674629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CE3FF25-D148-A545-96F3-3AB1474463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999" y="1920787"/>
            <a:ext cx="5345793" cy="2243691"/>
          </a:xfrm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itle slide</a:t>
            </a:r>
            <a:br>
              <a:rPr lang="en-US"/>
            </a:br>
            <a:r>
              <a:rPr lang="en-US"/>
              <a:t>without an imag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ED5A7C32-6322-E649-AB2D-15AE7B7CF93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4350702"/>
            <a:ext cx="914400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his is a subtitle of your presentation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0E808384-C21D-8F44-A901-174200CC0B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4806802"/>
            <a:ext cx="5345792" cy="22711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38913316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2 columns w/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12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2232000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2232000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4F5A02-45AE-457C-93B5-134D4CA14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626E5D-46A4-4917-94D9-76F8EC00A8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201B17D-2F65-4670-BFA9-9258870A74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251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 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1EB234-5D8E-472D-AFF8-9F39501AC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3269602-6D9D-4AB3-B9E6-58FC9FE588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6488516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449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6723076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BAB836-C9B1-4F02-BEDD-1902625C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09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BAB836-C9B1-4F02-BEDD-1902625C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0C3687-36C5-4171-B057-305596933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3E210B19-5567-EC4C-82D7-46BB7017165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auto">
          <a:xfrm>
            <a:off x="6097411" y="0"/>
            <a:ext cx="6094589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355D142-E307-46D2-ABBE-A69BC17C24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15863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0150C5-668E-4AF4-8FA1-109F47087E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5158947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E460FD4-C709-4C4E-8F84-D8A6C0957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5158947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2B0F4B5-E5C2-4382-AED6-B70253040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7101D0A-2711-43A1-B0D0-D28DE6599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04015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797037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8163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5263117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5288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BFBD3E-297D-4BC3-94BA-F7DADB32A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20132302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I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3482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52539A8-3270-4B01-8144-98B9A7185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46C7AD5-0DD3-406F-ACB9-ACABB0D58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12DA6DC-0102-4FB2-A547-D52FC941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9A730C8-66A5-4822-B3D3-B4581797F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8386802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CE3FF25-D148-A545-96F3-3AB1474463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999" y="1920787"/>
            <a:ext cx="5345793" cy="2243691"/>
          </a:xfrm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itle slide</a:t>
            </a:r>
            <a:br>
              <a:rPr lang="en-US"/>
            </a:br>
            <a:r>
              <a:rPr lang="en-US"/>
              <a:t>without an imag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ED5A7C32-6322-E649-AB2D-15AE7B7CF93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4350702"/>
            <a:ext cx="914400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his is a subtitle of your presentation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0E808384-C21D-8F44-A901-174200CC0B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4806802"/>
            <a:ext cx="5345792" cy="22711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e date and loc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DA4FFD6-A3B9-D141-893C-594803FFC7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999" y="530566"/>
            <a:ext cx="1587863" cy="377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6729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1FE3D0-05F6-46C1-A5EA-B2DE3515B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2530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1FE3D0-05F6-46C1-A5EA-B2DE3515B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48407E-796A-40CA-AB97-FD69035658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-199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2542FA3C-B111-441A-A03E-8404B1A845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5199FE99-79B5-4DCF-87BD-5E9E69F5BF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26126102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Title slide without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3322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F9F516-A356-494E-B06F-D96C6017EB1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999" y="540000"/>
            <a:ext cx="8473371" cy="1218795"/>
          </a:xfr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Title slide</a:t>
            </a:r>
            <a:br>
              <a:rPr lang="en-US"/>
            </a:br>
            <a:r>
              <a:rPr lang="en-US"/>
              <a:t>without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F87B3A-229C-F140-8380-D91564A36F0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40000" y="6048369"/>
            <a:ext cx="2949512" cy="13904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alphaModFix/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DE0E416-3425-4A6B-9CD6-A378559ED4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41DE6B-A190-4DCF-9C25-D7BC88F3FE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21119547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626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3B8A5-F0B9-4B92-9033-C0E5FF13399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E11780-2DEF-46A1-931C-FE31AE9DB4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 slide</a:t>
            </a:r>
            <a:br>
              <a:rPr lang="en-US" noProof="0"/>
            </a:br>
            <a:r>
              <a:rPr lang="en-US" noProof="0"/>
              <a:t>without an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85137F-B8FB-48C3-B162-ABBE7B987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EA4E02A-F812-44E1-930E-E387B9F33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8272324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5514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/>
              <a:t>Click icon to add 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52539A8-3270-4B01-8144-98B9A7185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46C7AD5-0DD3-406F-ACB9-ACABB0D58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slide</a:t>
            </a:r>
            <a:br>
              <a:rPr lang="en-US"/>
            </a:br>
            <a:r>
              <a:rPr lang="en-US"/>
              <a:t>with an ima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12DA6DC-0102-4FB2-A547-D52FC941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9A730C8-66A5-4822-B3D3-B4581797F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1216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2909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3B8A5-F0B9-4B92-9033-C0E5FF13399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E11780-2DEF-46A1-931C-FE31AE9DB4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slide</a:t>
            </a:r>
            <a:br>
              <a:rPr lang="en-US"/>
            </a:br>
            <a:r>
              <a:rPr lang="en-US"/>
              <a:t>without an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85137F-B8FB-48C3-B162-ABBE7B987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EA4E02A-F812-44E1-930E-E387B9F33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2815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7509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0246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8568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2041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2218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1800225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9106C1-A74E-4316-9285-24C2D5F0D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D8AFE70-5132-4474-A761-AC2C2E786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44239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2 columns w/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3137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2232000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2232000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4F5A02-45AE-457C-93B5-134D4CA14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626E5D-46A4-4917-94D9-76F8EC00A8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201B17D-2F65-4670-BFA9-9258870A74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251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 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1EB234-5D8E-472D-AFF8-9F39501AC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3269602-6D9D-4AB3-B9E6-58FC9FE588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25244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368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97413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BAB836-C9B1-4F02-BEDD-1902625C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627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BAB836-C9B1-4F02-BEDD-1902625C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0C3687-36C5-4171-B057-305596933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3E210B19-5567-EC4C-82D7-46BB7017165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auto">
          <a:xfrm>
            <a:off x="6097411" y="0"/>
            <a:ext cx="6094589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355D142-E307-46D2-ABBE-A69BC17C24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158634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0150C5-668E-4AF4-8FA1-109F47087E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5158947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er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E460FD4-C709-4C4E-8F84-D8A6C0957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5158947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2B0F4B5-E5C2-4382-AED6-B70253040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7101D0A-2711-43A1-B0D0-D28DE6599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1097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8393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5110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1659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6512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8944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0893330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9933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86953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4692C1B-5892-44B6-A633-38CA66E6F79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920ECC3-E579-40EC-83D9-A249560D80E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923" y="3190484"/>
            <a:ext cx="5612156" cy="477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74825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1183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6770752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CE3FF25-D148-A545-96F3-3AB1474463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999" y="1920787"/>
            <a:ext cx="5345793" cy="2243691"/>
          </a:xfrm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itle slide</a:t>
            </a:r>
            <a:br>
              <a:rPr lang="en-US"/>
            </a:br>
            <a:r>
              <a:rPr lang="en-US"/>
              <a:t>without an imag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ED5A7C32-6322-E649-AB2D-15AE7B7CF93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4350702"/>
            <a:ext cx="914400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his is a subtitle of your presentation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0E808384-C21D-8F44-A901-174200CC0B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4806802"/>
            <a:ext cx="5345792" cy="22711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e date and loc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DA4FFD6-A3B9-D141-893C-594803FFC7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999" y="530566"/>
            <a:ext cx="1587863" cy="377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57190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6825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7A2F9F5E-5FD8-4EFB-A654-D48CBF418AF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0" y="3176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E11780-2DEF-46A1-931C-FE31AE9DB4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 slide</a:t>
            </a:r>
            <a:br>
              <a:rPr lang="en-US" noProof="0"/>
            </a:br>
            <a:r>
              <a:rPr lang="en-US" noProof="0"/>
              <a:t>without an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85137F-B8FB-48C3-B162-ABBE7B987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EA4E02A-F812-44E1-930E-E387B9F33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6699993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3914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285867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5045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7255774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29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1800225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9106C1-A74E-4316-9285-24C2D5F0D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D8AFE70-5132-4474-A761-AC2C2E786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313663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2 columns w/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9375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2232000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2232000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4F5A02-45AE-457C-93B5-134D4CA14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626E5D-46A4-4917-94D9-76F8EC00A8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201B17D-2F65-4670-BFA9-9258870A74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251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 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1EB234-5D8E-472D-AFF8-9F39501AC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3269602-6D9D-4AB3-B9E6-58FC9FE588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7801218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882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Fira Sans" panose="020B0604020202020204" charset="0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402324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048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465020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BAB836-C9B1-4F02-BEDD-1902625C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420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BAB836-C9B1-4F02-BEDD-1902625C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0C3687-36C5-4171-B057-305596933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3E210B19-5567-EC4C-82D7-46BB7017165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auto">
          <a:xfrm>
            <a:off x="6097411" y="0"/>
            <a:ext cx="6094589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355D142-E307-46D2-ABBE-A69BC17C24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15863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0150C5-668E-4AF4-8FA1-109F47087E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5158947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E460FD4-C709-4C4E-8F84-D8A6C0957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5158947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Fira Sans" panose="020B0604020202020204" charset="0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2B0F4B5-E5C2-4382-AED6-B70253040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7101D0A-2711-43A1-B0D0-D28DE6599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3438369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6978286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221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8303042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8367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6893507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418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7A2F9F5E-5FD8-4EFB-A654-D48CBF418AF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0" y="3176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E11780-2DEF-46A1-931C-FE31AE9DB4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 slide</a:t>
            </a:r>
            <a:br>
              <a:rPr lang="en-US" noProof="0"/>
            </a:br>
            <a:r>
              <a:rPr lang="en-US" noProof="0"/>
              <a:t>without an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85137F-B8FB-48C3-B162-ABBE7B987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EA4E02A-F812-44E1-930E-E387B9F33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4689674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26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4635733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2848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15280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712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1800225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9106C1-A74E-4316-9285-24C2D5F0D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D8AFE70-5132-4474-A761-AC2C2E786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8324023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2 columns w/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0818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2232000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2232000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4F5A02-45AE-457C-93B5-134D4CA14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626E5D-46A4-4917-94D9-76F8EC00A8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201B17D-2F65-4670-BFA9-9258870A74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251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 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1EB234-5D8E-472D-AFF8-9F39501AC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3269602-6D9D-4AB3-B9E6-58FC9FE588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6006861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401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Fira Sans" panose="020B0604020202020204" charset="0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24744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0225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1800225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9106C1-A74E-4316-9285-24C2D5F0D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D8AFE70-5132-4474-A761-AC2C2E786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3237797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BAB836-C9B1-4F02-BEDD-1902625C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238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BAB836-C9B1-4F02-BEDD-1902625C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0C3687-36C5-4171-B057-305596933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3E210B19-5567-EC4C-82D7-46BB7017165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auto">
          <a:xfrm>
            <a:off x="6097411" y="0"/>
            <a:ext cx="6094589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355D142-E307-46D2-ABBE-A69BC17C24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15863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0150C5-668E-4AF4-8FA1-109F47087E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5158947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E460FD4-C709-4C4E-8F84-D8A6C0957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5158947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Fira Sans" panose="020B0604020202020204" charset="0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2B0F4B5-E5C2-4382-AED6-B70253040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7101D0A-2711-43A1-B0D0-D28DE6599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3226780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0084244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4979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356124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9863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4816537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AB3837-BFE8-446B-B5BD-37EB4436A0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DA4030-7EC5-4475-8B8E-448960CAE1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5DAA59-0DFB-46A0-A70B-A3E85B80E3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50C849-B97A-2B45-B78A-6D9C352F693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CAC3DC-4F72-4A4C-9CAD-A8159CC50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8079573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0348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21382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CE3FF25-D148-A545-96F3-3AB1474463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999" y="1920787"/>
            <a:ext cx="5345793" cy="2243691"/>
          </a:xfrm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itle slide</a:t>
            </a:r>
            <a:br>
              <a:rPr lang="en-US"/>
            </a:br>
            <a:r>
              <a:rPr lang="en-US"/>
              <a:t>without an imag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ED5A7C32-6322-E649-AB2D-15AE7B7CF93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4350702"/>
            <a:ext cx="914400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his is a subtitle of your presentation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0E808384-C21D-8F44-A901-174200CC0B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4806802"/>
            <a:ext cx="5345792" cy="22711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e date and loc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DA4FFD6-A3B9-D141-893C-594803FFC7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999" y="530566"/>
            <a:ext cx="1587863" cy="377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29154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out an image - Bova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A55D4FB-5BF3-2642-981A-0B3CA39078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348656F6-EA8A-BE42-989B-9D3FE3295A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999" y="1920787"/>
            <a:ext cx="5345793" cy="2243691"/>
          </a:xfrm>
        </p:spPr>
        <p:txBody>
          <a:bodyPr anchor="b" anchorCtr="0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itle slide</a:t>
            </a:r>
            <a:br>
              <a:rPr lang="en-US"/>
            </a:br>
            <a:r>
              <a:rPr lang="en-US"/>
              <a:t>without an imag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BC8FD63-94B2-B649-BCD0-7666524524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4350702"/>
            <a:ext cx="914400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his is a subtitle of your presentation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A17D3CD3-2DE2-CD46-A74C-7FB423AB8E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4806802"/>
            <a:ext cx="5345792" cy="22711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e date and loca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A024002-BCB7-0148-9014-D54E1B126AC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999" y="530566"/>
            <a:ext cx="1587863" cy="377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82497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single-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7A6A30-C973-624B-981E-72C6F2C89E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Header (Trebuchet Bold 32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20F73D-8F0A-C245-8C2E-E58A4DFF24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7999" y="1800000"/>
            <a:ext cx="11139093" cy="180562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 marL="0" indent="0">
              <a:buNone/>
              <a:defRPr/>
            </a:lvl2pPr>
            <a:lvl3pPr marL="0"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, convallis </a:t>
            </a:r>
            <a:r>
              <a:rPr lang="en-US" err="1"/>
              <a:t>ut</a:t>
            </a:r>
            <a:r>
              <a:rPr lang="en-US"/>
              <a:t>,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, lorem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  <a:p>
            <a:pPr lvl="2"/>
            <a:r>
              <a:rPr lang="en-US" err="1"/>
              <a:t>Suspendisse</a:t>
            </a:r>
            <a:r>
              <a:rPr lang="en-US"/>
              <a:t> ante est. Nam dolor. </a:t>
            </a:r>
            <a:r>
              <a:rPr lang="en-US" err="1"/>
              <a:t>Aliquam</a:t>
            </a:r>
            <a:r>
              <a:rPr lang="en-US"/>
              <a:t> fermentum. </a:t>
            </a:r>
            <a:br>
              <a:rPr lang="en-US"/>
            </a:br>
            <a:r>
              <a:rPr lang="en-US" err="1"/>
              <a:t>Nullam</a:t>
            </a:r>
            <a:r>
              <a:rPr lang="en-US"/>
              <a:t> convallis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8A26E-A55A-DF4E-A7F6-B8DAAAAC1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228000"/>
            <a:ext cx="2743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fld id="{E118D48E-C7CB-6244-969D-7BAEA9B6226C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1996CA8-D140-9F48-A337-12091286CE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080000"/>
            <a:ext cx="1113909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accent6"/>
                </a:solidFill>
                <a:latin typeface="Trebuchet MS" panose="020B0703020202090204" pitchFamily="34" charset="0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 (Trebuchet Bold 2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86668128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slide with a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7A6A30-C973-624B-981E-72C6F2C89E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Header (Trebuchet Bold 32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20F73D-8F0A-C245-8C2E-E58A4DFF24B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7999" y="1800000"/>
            <a:ext cx="5119299" cy="266739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 marL="0" indent="0">
              <a:buNone/>
              <a:defRPr/>
            </a:lvl2pPr>
            <a:lvl3pPr marL="0" indent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>
                <a:solidFill>
                  <a:schemeClr val="accent6"/>
                </a:solidFill>
              </a:defRPr>
            </a:lvl3pPr>
          </a:lstStyle>
          <a:p>
            <a:pPr lvl="0"/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, convallis </a:t>
            </a:r>
            <a:r>
              <a:rPr lang="en-US" err="1"/>
              <a:t>ut</a:t>
            </a:r>
            <a:r>
              <a:rPr lang="en-US"/>
              <a:t>,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, lorem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  <a:p>
            <a:pPr lvl="2"/>
            <a:r>
              <a:rPr lang="en-US" err="1"/>
              <a:t>Suspendisse</a:t>
            </a:r>
            <a:r>
              <a:rPr lang="en-US"/>
              <a:t> ante est. Nam dolor. </a:t>
            </a:r>
            <a:r>
              <a:rPr lang="en-US" err="1"/>
              <a:t>Aliquam</a:t>
            </a:r>
            <a:r>
              <a:rPr lang="en-US"/>
              <a:t> fermentum. </a:t>
            </a:r>
            <a:r>
              <a:rPr lang="en-US" err="1"/>
              <a:t>Nullam</a:t>
            </a:r>
            <a:r>
              <a:rPr lang="en-US"/>
              <a:t> convallis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8A26E-A55A-DF4E-A7F6-B8DAAAAC1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228000"/>
            <a:ext cx="2743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fld id="{E118D48E-C7CB-6244-969D-7BAEA9B6226C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1996CA8-D140-9F48-A337-12091286CE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7999" y="1080000"/>
            <a:ext cx="6284493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1" i="0">
                <a:solidFill>
                  <a:schemeClr val="accent6"/>
                </a:solidFill>
                <a:latin typeface="Trebuchet MS" panose="020B0703020202090204" pitchFamily="34" charset="0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 (Trebuchet Bold 2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A38985DD-3048-C442-80AC-02B7F8C63B5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038000" y="1800000"/>
            <a:ext cx="3510000" cy="3600000"/>
          </a:xfrm>
          <a:solidFill>
            <a:schemeClr val="bg1">
              <a:lumMod val="95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Insert your</a:t>
            </a:r>
            <a:br>
              <a:rPr lang="en-US"/>
            </a:br>
            <a:r>
              <a:rPr lang="en-US"/>
              <a:t>graphic/chart</a:t>
            </a:r>
          </a:p>
        </p:txBody>
      </p:sp>
    </p:spTree>
    <p:extLst>
      <p:ext uri="{BB962C8B-B14F-4D97-AF65-F5344CB8AC3E}">
        <p14:creationId xmlns:p14="http://schemas.microsoft.com/office/powerpoint/2010/main" val="1661278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vmlDrawing" Target="../drawings/vmlDrawing100.v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theme" Target="../theme/theme10.xml"/><Relationship Id="rId17" Type="http://schemas.openxmlformats.org/officeDocument/2006/relationships/image" Target="../media/image14.png"/><Relationship Id="rId2" Type="http://schemas.openxmlformats.org/officeDocument/2006/relationships/slideLayout" Target="../slideLayouts/slideLayout97.xml"/><Relationship Id="rId16" Type="http://schemas.openxmlformats.org/officeDocument/2006/relationships/image" Target="../media/image13.emf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5" Type="http://schemas.openxmlformats.org/officeDocument/2006/relationships/oleObject" Target="../embeddings/oleObject100.bin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tags" Target="../tags/tag20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3" Type="http://schemas.openxmlformats.org/officeDocument/2006/relationships/slideLayout" Target="../slideLayouts/slideLayout109.xml"/><Relationship Id="rId7" Type="http://schemas.openxmlformats.org/officeDocument/2006/relationships/vmlDrawing" Target="../drawings/vmlDrawing102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theme" Target="../theme/theme1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11.xml"/><Relationship Id="rId10" Type="http://schemas.openxmlformats.org/officeDocument/2006/relationships/oleObject" Target="../embeddings/oleObject102.bin"/><Relationship Id="rId4" Type="http://schemas.openxmlformats.org/officeDocument/2006/relationships/slideLayout" Target="../slideLayouts/slideLayout110.xml"/><Relationship Id="rId9" Type="http://schemas.openxmlformats.org/officeDocument/2006/relationships/tags" Target="../tags/tag20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4.xml"/><Relationship Id="rId18" Type="http://schemas.openxmlformats.org/officeDocument/2006/relationships/vmlDrawing" Target="../drawings/vmlDrawing106.vml"/><Relationship Id="rId3" Type="http://schemas.openxmlformats.org/officeDocument/2006/relationships/slideLayout" Target="../slideLayouts/slideLayout114.xml"/><Relationship Id="rId21" Type="http://schemas.openxmlformats.org/officeDocument/2006/relationships/oleObject" Target="../embeddings/oleObject106.bin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theme" Target="../theme/theme12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tags" Target="../tags/tag212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21.xml"/><Relationship Id="rId19" Type="http://schemas.openxmlformats.org/officeDocument/2006/relationships/tags" Target="../tags/tag21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ags" Target="../tags/tag10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vmlDrawing" Target="../drawings/vmlDrawing5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ags" Target="../tags/tag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ags" Target="../tags/tag3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vmlDrawing" Target="../drawings/vmlDrawing16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5" Type="http://schemas.openxmlformats.org/officeDocument/2006/relationships/oleObject" Target="../embeddings/oleObject16.bin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ags" Target="../tags/tag54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vmlDrawing" Target="../drawings/vmlDrawing27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0.xml"/><Relationship Id="rId15" Type="http://schemas.openxmlformats.org/officeDocument/2006/relationships/oleObject" Target="../embeddings/oleObject27.bin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ags" Target="../tags/tag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ags" Target="../tags/tag76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vmlDrawing" Target="../drawings/vmlDrawing38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0.xml"/><Relationship Id="rId15" Type="http://schemas.openxmlformats.org/officeDocument/2006/relationships/oleObject" Target="../embeddings/oleObject38.bin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ags" Target="../tags/tag7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heme" Target="../theme/theme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oleObject" Target="../embeddings/oleObject49.bin"/><Relationship Id="rId2" Type="http://schemas.openxmlformats.org/officeDocument/2006/relationships/slideLayout" Target="../slideLayouts/slideLayout47.xml"/><Relationship Id="rId16" Type="http://schemas.openxmlformats.org/officeDocument/2006/relationships/tags" Target="../tags/tag99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ags" Target="../tags/tag98.xml"/><Relationship Id="rId10" Type="http://schemas.openxmlformats.org/officeDocument/2006/relationships/slideLayout" Target="../slideLayouts/slideLayout55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vmlDrawing" Target="../drawings/vmlDrawing49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vmlDrawing" Target="../drawings/vmlDrawing61.vml"/><Relationship Id="rId3" Type="http://schemas.openxmlformats.org/officeDocument/2006/relationships/slideLayout" Target="../slideLayouts/slideLayout60.xml"/><Relationship Id="rId21" Type="http://schemas.openxmlformats.org/officeDocument/2006/relationships/oleObject" Target="../embeddings/oleObject61.bin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tags" Target="../tags/tag123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67.xml"/><Relationship Id="rId19" Type="http://schemas.openxmlformats.org/officeDocument/2006/relationships/tags" Target="../tags/tag122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tags" Target="../tags/tag154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vmlDrawing" Target="../drawings/vmlDrawing77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7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78.xml"/><Relationship Id="rId15" Type="http://schemas.openxmlformats.org/officeDocument/2006/relationships/oleObject" Target="../embeddings/oleObject77.bin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tags" Target="../tags/tag15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theme" Target="../theme/theme9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oleObject" Target="../embeddings/oleObject88.bin"/><Relationship Id="rId2" Type="http://schemas.openxmlformats.org/officeDocument/2006/relationships/slideLayout" Target="../slideLayouts/slideLayout85.xml"/><Relationship Id="rId16" Type="http://schemas.openxmlformats.org/officeDocument/2006/relationships/tags" Target="../tags/tag177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tags" Target="../tags/tag176.xml"/><Relationship Id="rId10" Type="http://schemas.openxmlformats.org/officeDocument/2006/relationships/slideLayout" Target="../slideLayouts/slideLayout93.xml"/><Relationship Id="rId19" Type="http://schemas.openxmlformats.org/officeDocument/2006/relationships/image" Target="../media/image12.png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vmlDrawing" Target="../drawings/vmlDrawing8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22999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10" imgW="345" imgH="355" progId="TCLayout.ActiveDocument.1">
                  <p:embed/>
                </p:oleObj>
              </mc:Choice>
              <mc:Fallback>
                <p:oleObj name="think-cell Slide" r:id="rId10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Click to 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22805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4025" r:id="rId2"/>
    <p:sldLayoutId id="2147483962" r:id="rId3"/>
    <p:sldLayoutId id="2147484037" r:id="rId4"/>
    <p:sldLayoutId id="2147484188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DAF8F1-74F0-4432-8AAF-D062EC9243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44101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4" name="think-cell Slide" r:id="rId15" imgW="470" imgH="469" progId="TCLayout.ActiveDocument.1">
                  <p:embed/>
                </p:oleObj>
              </mc:Choice>
              <mc:Fallback>
                <p:oleObj name="think-cell Slide" r:id="rId1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DAF8F1-74F0-4432-8AAF-D062EC9243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139095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er (Trebuchet Bold 32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139095" cy="18056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eros</a:t>
            </a:r>
            <a:r>
              <a:rPr lang="en-US"/>
              <a:t>, convallis </a:t>
            </a:r>
            <a:r>
              <a:rPr lang="en-US" err="1"/>
              <a:t>ut</a:t>
            </a:r>
            <a:r>
              <a:rPr lang="en-US"/>
              <a:t>,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,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, lorem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  <a:p>
            <a:pPr lvl="2"/>
            <a:r>
              <a:rPr lang="en-US" err="1"/>
              <a:t>Suspendisse</a:t>
            </a:r>
            <a:r>
              <a:rPr lang="en-US"/>
              <a:t> ante est. Nam dolor. </a:t>
            </a:r>
            <a:r>
              <a:rPr lang="en-US" err="1"/>
              <a:t>Aliquam</a:t>
            </a:r>
            <a:r>
              <a:rPr lang="en-US"/>
              <a:t> fermentum. </a:t>
            </a:r>
            <a:br>
              <a:rPr lang="en-US"/>
            </a:br>
            <a:r>
              <a:rPr lang="en-US" err="1"/>
              <a:t>Nullam</a:t>
            </a:r>
            <a:r>
              <a:rPr lang="en-US"/>
              <a:t> convallis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nunc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C8E239B-9333-E849-881D-40C949E354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228000"/>
            <a:ext cx="274320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0" i="0">
                <a:solidFill>
                  <a:schemeClr val="tx1">
                    <a:alpha val="30000"/>
                  </a:schemeClr>
                </a:solidFill>
                <a:latin typeface="Trebuchet MS" panose="020B0703020202090204" pitchFamily="34" charset="0"/>
              </a:defRPr>
            </a:lvl1pPr>
          </a:lstStyle>
          <a:p>
            <a:fld id="{EC50C849-B97A-2B45-B78A-6D9C352F693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34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5" r:id="rId1"/>
    <p:sldLayoutId id="2147484136" r:id="rId2"/>
    <p:sldLayoutId id="2147484137" r:id="rId3"/>
    <p:sldLayoutId id="2147484138" r:id="rId4"/>
    <p:sldLayoutId id="2147484139" r:id="rId5"/>
    <p:sldLayoutId id="2147484140" r:id="rId6"/>
    <p:sldLayoutId id="2147484141" r:id="rId7"/>
    <p:sldLayoutId id="2147484142" r:id="rId8"/>
    <p:sldLayoutId id="2147484143" r:id="rId9"/>
    <p:sldLayoutId id="2147484144" r:id="rId10"/>
    <p:sldLayoutId id="214748414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accent6"/>
          </a:solidFill>
          <a:latin typeface="Trebuchet MS" panose="020B0703020202090204" pitchFamily="34" charset="0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Fira Sans" panose="020B0503050000020004" pitchFamily="34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600"/>
        </a:spcAft>
        <a:buFont typeface="Arial" panose="020B0604020202020204" pitchFamily="34" charset="0"/>
        <a:buNone/>
        <a:defRPr sz="2000" b="0" i="0" kern="1200">
          <a:solidFill>
            <a:schemeClr val="accent6"/>
          </a:solidFill>
          <a:latin typeface="Trebuchet MS" panose="020B0703020202090204" pitchFamily="34" charset="0"/>
          <a:ea typeface="+mn-ea"/>
          <a:cs typeface="+mn-cs"/>
        </a:defRPr>
      </a:lvl3pPr>
      <a:lvl4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Fira Sans" panose="020B0503050000020004" pitchFamily="34" charset="0"/>
          <a:ea typeface="+mn-ea"/>
          <a:cs typeface="+mn-cs"/>
        </a:defRPr>
      </a:lvl4pPr>
      <a:lvl5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Fira Sans" panose="020B050305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3007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2" name="think-cell Slide" r:id="rId10" imgW="345" imgH="355" progId="TCLayout.ActiveDocument.1">
                  <p:embed/>
                </p:oleObj>
              </mc:Choice>
              <mc:Fallback>
                <p:oleObj name="think-cell Slide" r:id="rId10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Click to 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50518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7" r:id="rId1"/>
    <p:sldLayoutId id="2147484148" r:id="rId2"/>
    <p:sldLayoutId id="2147484149" r:id="rId3"/>
    <p:sldLayoutId id="2147484150" r:id="rId4"/>
    <p:sldLayoutId id="2147484151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36829403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18" name="think-cell Slide" r:id="rId21" imgW="345" imgH="355" progId="TCLayout.ActiveDocument.1">
                  <p:embed/>
                </p:oleObj>
              </mc:Choice>
              <mc:Fallback>
                <p:oleObj name="think-cell Slide" r:id="rId21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1" y="1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3197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7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1"/>
            <a:ext cx="11262667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 dirty="0"/>
              <a:t>Edit Master text styles</a:t>
            </a:r>
          </a:p>
          <a:p>
            <a:pPr lvl="1"/>
            <a:r>
              <a:rPr lang="en-US" altLang="nl-NL" noProof="0" dirty="0"/>
              <a:t>Second level</a:t>
            </a:r>
          </a:p>
          <a:p>
            <a:pPr lvl="2"/>
            <a:r>
              <a:rPr lang="en-US" altLang="nl-NL" noProof="0" dirty="0"/>
              <a:t>Third level</a:t>
            </a:r>
          </a:p>
          <a:p>
            <a:pPr lvl="3"/>
            <a:r>
              <a:rPr lang="en-US" altLang="nl-NL" noProof="0" dirty="0"/>
              <a:t>Fourth level</a:t>
            </a:r>
          </a:p>
          <a:p>
            <a:pPr lvl="4"/>
            <a:r>
              <a:rPr lang="en-US" altLang="nl-NL" noProof="0" dirty="0"/>
              <a:t>Fifth level</a:t>
            </a:r>
          </a:p>
          <a:p>
            <a:pPr lvl="5"/>
            <a:r>
              <a:rPr lang="en-US" altLang="nl-NL" noProof="0" dirty="0"/>
              <a:t>Sixth level</a:t>
            </a:r>
          </a:p>
          <a:p>
            <a:pPr lvl="6"/>
            <a:r>
              <a:rPr lang="en-US" altLang="nl-NL" noProof="0" dirty="0"/>
              <a:t>Seventh level</a:t>
            </a:r>
          </a:p>
          <a:p>
            <a:pPr lvl="7"/>
            <a:r>
              <a:rPr lang="en-US" altLang="nl-NL" noProof="0" dirty="0"/>
              <a:t>Eighth level</a:t>
            </a:r>
          </a:p>
          <a:p>
            <a:pPr lvl="8"/>
            <a:r>
              <a:rPr lang="en-US" altLang="nl-NL" noProof="0" dirty="0"/>
              <a:t>Ninth level</a:t>
            </a:r>
          </a:p>
          <a:p>
            <a:pPr lvl="7"/>
            <a:endParaRPr lang="en-US" altLang="nl-NL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4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1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rtl="0">
              <a:defRPr sz="1199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1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>
              <a:defRPr sz="1199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378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1" r:id="rId1"/>
    <p:sldLayoutId id="2147484192" r:id="rId2"/>
    <p:sldLayoutId id="2147484193" r:id="rId3"/>
    <p:sldLayoutId id="2147484194" r:id="rId4"/>
    <p:sldLayoutId id="2147484195" r:id="rId5"/>
    <p:sldLayoutId id="2147484196" r:id="rId6"/>
    <p:sldLayoutId id="2147484197" r:id="rId7"/>
    <p:sldLayoutId id="2147484198" r:id="rId8"/>
    <p:sldLayoutId id="2147484199" r:id="rId9"/>
    <p:sldLayoutId id="2147484200" r:id="rId10"/>
    <p:sldLayoutId id="2147484201" r:id="rId11"/>
    <p:sldLayoutId id="2147484202" r:id="rId12"/>
    <p:sldLayoutId id="2147484203" r:id="rId13"/>
    <p:sldLayoutId id="2147484204" r:id="rId14"/>
    <p:sldLayoutId id="2147484205" r:id="rId15"/>
    <p:sldLayoutId id="2147484206" r:id="rId16"/>
  </p:sldLayoutIdLst>
  <p:hf hdr="0" ftr="0" dt="0"/>
  <p:txStyles>
    <p:titleStyle>
      <a:lvl1pPr algn="l" defTabSz="913554" rtl="0" eaLnBrk="1" latinLnBrk="0" hangingPunct="1">
        <a:lnSpc>
          <a:spcPct val="90000"/>
        </a:lnSpc>
        <a:spcBef>
          <a:spcPct val="0"/>
        </a:spcBef>
        <a:buNone/>
        <a:defRPr sz="3197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1767" indent="-251767" algn="l" defTabSz="9135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998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7665" indent="-271212" algn="l" defTabSz="9135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798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118" indent="-266453" algn="l" defTabSz="9135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798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5330" indent="-271212" algn="l" defTabSz="9135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98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5330" indent="-271212" algn="l" defTabSz="9135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98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89603" indent="-285486" algn="l" defTabSz="9135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1089603" indent="-285486" algn="l" defTabSz="9135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1075330" indent="-271212" algn="l" defTabSz="9135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1075330" indent="-271212" algn="l" defTabSz="9135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77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554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331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108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885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663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440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4217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549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5" imgW="345" imgH="355" progId="TCLayout.ActiveDocument.1">
                  <p:embed/>
                </p:oleObj>
              </mc:Choice>
              <mc:Fallback>
                <p:oleObj name="think-cell Slide" r:id="rId1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  <a:p>
            <a:pPr lvl="5"/>
            <a:r>
              <a:rPr lang="en-US" altLang="nl-NL" noProof="0"/>
              <a:t>Sixth level</a:t>
            </a:r>
          </a:p>
          <a:p>
            <a:pPr lvl="6"/>
            <a:r>
              <a:rPr lang="en-US" altLang="nl-NL" noProof="0"/>
              <a:t>Seventh level</a:t>
            </a:r>
          </a:p>
          <a:p>
            <a:pPr lvl="7"/>
            <a:r>
              <a:rPr lang="en-US" altLang="nl-NL" noProof="0"/>
              <a:t>Eighth level</a:t>
            </a:r>
          </a:p>
          <a:p>
            <a:pPr lvl="8"/>
            <a:r>
              <a:rPr lang="en-US" altLang="nl-NL" noProof="0"/>
              <a:t>Ninth level</a:t>
            </a:r>
          </a:p>
          <a:p>
            <a:pPr lvl="7"/>
            <a:endParaRPr lang="en-US" altLang="nl-NL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1724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65" r:id="rId3"/>
    <p:sldLayoutId id="2147483966" r:id="rId4"/>
    <p:sldLayoutId id="2147483967" r:id="rId5"/>
    <p:sldLayoutId id="2147483968" r:id="rId6"/>
    <p:sldLayoutId id="2147483969" r:id="rId7"/>
    <p:sldLayoutId id="2147484038" r:id="rId8"/>
    <p:sldLayoutId id="2147483971" r:id="rId9"/>
    <p:sldLayoutId id="2147483972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73508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15" imgW="345" imgH="355" progId="TCLayout.ActiveDocument.1">
                  <p:embed/>
                </p:oleObj>
              </mc:Choice>
              <mc:Fallback>
                <p:oleObj name="think-cell Slide" r:id="rId1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  <a:p>
            <a:pPr lvl="5"/>
            <a:r>
              <a:rPr lang="en-US" altLang="nl-NL" noProof="0"/>
              <a:t>Sixth level</a:t>
            </a:r>
          </a:p>
          <a:p>
            <a:pPr lvl="6"/>
            <a:r>
              <a:rPr lang="en-US" altLang="nl-NL" noProof="0"/>
              <a:t>Seventh level</a:t>
            </a:r>
          </a:p>
          <a:p>
            <a:pPr lvl="7"/>
            <a:r>
              <a:rPr lang="en-US" altLang="nl-NL" noProof="0"/>
              <a:t>Eighth level</a:t>
            </a:r>
          </a:p>
          <a:p>
            <a:pPr lvl="8"/>
            <a:r>
              <a:rPr lang="en-US" altLang="nl-NL" noProof="0"/>
              <a:t>Ninth level</a:t>
            </a:r>
          </a:p>
          <a:p>
            <a:pPr lvl="7"/>
            <a:endParaRPr lang="en-US" altLang="nl-NL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47493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  <p:sldLayoutId id="2147484016" r:id="rId4"/>
    <p:sldLayoutId id="2147484017" r:id="rId5"/>
    <p:sldLayoutId id="2147484018" r:id="rId6"/>
    <p:sldLayoutId id="2147484019" r:id="rId7"/>
    <p:sldLayoutId id="2147484039" r:id="rId8"/>
    <p:sldLayoutId id="2147484021" r:id="rId9"/>
    <p:sldLayoutId id="2147484022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45AC34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20575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15" imgW="345" imgH="355" progId="TCLayout.ActiveDocument.1">
                  <p:embed/>
                </p:oleObj>
              </mc:Choice>
              <mc:Fallback>
                <p:oleObj name="think-cell Slide" r:id="rId1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  <a:p>
            <a:pPr lvl="5"/>
            <a:r>
              <a:rPr lang="en-US" altLang="nl-NL" noProof="0"/>
              <a:t>Sixth level</a:t>
            </a:r>
          </a:p>
          <a:p>
            <a:pPr lvl="6"/>
            <a:r>
              <a:rPr lang="en-US" altLang="nl-NL" noProof="0"/>
              <a:t>Seventh level</a:t>
            </a:r>
          </a:p>
          <a:p>
            <a:pPr lvl="7"/>
            <a:r>
              <a:rPr lang="en-US" altLang="nl-NL" noProof="0"/>
              <a:t>Eighth level</a:t>
            </a:r>
          </a:p>
          <a:p>
            <a:pPr lvl="8"/>
            <a:r>
              <a:rPr lang="en-US" altLang="nl-NL" noProof="0"/>
              <a:t>Ninth level</a:t>
            </a:r>
          </a:p>
          <a:p>
            <a:pPr lvl="7"/>
            <a:endParaRPr lang="en-US" altLang="nl-NL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28D69AC8-C2D4-43B3-B423-5FEA426A4D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9C0F9F4-8D04-442A-9AE6-0EE2215ADC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25649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4040" r:id="rId8"/>
    <p:sldLayoutId id="2147483986" r:id="rId9"/>
    <p:sldLayoutId id="2147483987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EE7203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41544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15" imgW="345" imgH="355" progId="TCLayout.ActiveDocument.1">
                  <p:embed/>
                </p:oleObj>
              </mc:Choice>
              <mc:Fallback>
                <p:oleObj name="think-cell Slide" r:id="rId1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667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  <a:p>
            <a:pPr lvl="5"/>
            <a:r>
              <a:rPr lang="en-US" altLang="nl-NL" noProof="0"/>
              <a:t>Sixth level</a:t>
            </a:r>
          </a:p>
          <a:p>
            <a:pPr lvl="6"/>
            <a:r>
              <a:rPr lang="en-US" altLang="nl-NL" noProof="0"/>
              <a:t>Seventh level</a:t>
            </a:r>
          </a:p>
          <a:p>
            <a:pPr lvl="7"/>
            <a:r>
              <a:rPr lang="en-US" altLang="nl-NL" noProof="0"/>
              <a:t>Eighth level</a:t>
            </a:r>
          </a:p>
          <a:p>
            <a:pPr lvl="8"/>
            <a:r>
              <a:rPr lang="en-US" altLang="nl-NL" noProof="0"/>
              <a:t>Ninth level</a:t>
            </a:r>
          </a:p>
          <a:p>
            <a:pPr lvl="7"/>
            <a:endParaRPr lang="en-US" altLang="nl-NL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B947EAC5-E661-4410-B868-9B2F5B4263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9977539F-7ADE-4050-80B3-70658A6BEC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71035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41" r:id="rId8"/>
    <p:sldLayoutId id="2147484001" r:id="rId9"/>
    <p:sldLayoutId id="2147484002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BD0A79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48987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17" imgW="345" imgH="355" progId="TCLayout.ActiveDocument.1">
                  <p:embed/>
                </p:oleObj>
              </mc:Choice>
              <mc:Fallback>
                <p:oleObj name="think-cell Slide" r:id="rId17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  <a:p>
            <a:pPr lvl="5"/>
            <a:r>
              <a:rPr lang="en-US" altLang="nl-NL" noProof="0"/>
              <a:t>Sixth level</a:t>
            </a:r>
          </a:p>
          <a:p>
            <a:pPr lvl="6"/>
            <a:r>
              <a:rPr lang="en-US" altLang="nl-NL" noProof="0"/>
              <a:t>Seventh level</a:t>
            </a:r>
          </a:p>
          <a:p>
            <a:pPr lvl="7"/>
            <a:r>
              <a:rPr lang="en-US" altLang="nl-NL" noProof="0"/>
              <a:t>Eighth level</a:t>
            </a:r>
          </a:p>
          <a:p>
            <a:pPr lvl="8"/>
            <a:r>
              <a:rPr lang="en-US" altLang="nl-NL" noProof="0"/>
              <a:t>Ninth level</a:t>
            </a:r>
          </a:p>
          <a:p>
            <a:pPr lvl="7"/>
            <a:endParaRPr lang="en-US" altLang="nl-NL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86941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  <p:sldLayoutId id="2147484048" r:id="rId6"/>
    <p:sldLayoutId id="2147484049" r:id="rId7"/>
    <p:sldLayoutId id="2147484050" r:id="rId8"/>
    <p:sldLayoutId id="2147484051" r:id="rId9"/>
    <p:sldLayoutId id="2147484052" r:id="rId10"/>
    <p:sldLayoutId id="2147484053" r:id="rId11"/>
    <p:sldLayoutId id="2147484069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0146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8" name="think-cell Slide" r:id="rId21" imgW="345" imgH="355" progId="TCLayout.ActiveDocument.1">
                  <p:embed/>
                </p:oleObj>
              </mc:Choice>
              <mc:Fallback>
                <p:oleObj name="think-cell Slide" r:id="rId21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Click to 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492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2" r:id="rId11"/>
    <p:sldLayoutId id="2147484083" r:id="rId12"/>
    <p:sldLayoutId id="2147484084" r:id="rId13"/>
    <p:sldLayoutId id="2147484085" r:id="rId14"/>
    <p:sldLayoutId id="2147484086" r:id="rId15"/>
    <p:sldLayoutId id="2147484087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99179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2" name="think-cell Slide" r:id="rId15" imgW="345" imgH="355" progId="TCLayout.ActiveDocument.1">
                  <p:embed/>
                </p:oleObj>
              </mc:Choice>
              <mc:Fallback>
                <p:oleObj name="think-cell Slide" r:id="rId1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  <a:p>
            <a:pPr lvl="5"/>
            <a:r>
              <a:rPr lang="en-US" altLang="nl-NL" noProof="0"/>
              <a:t>Sixth level</a:t>
            </a:r>
          </a:p>
          <a:p>
            <a:pPr lvl="6"/>
            <a:r>
              <a:rPr lang="en-US" altLang="nl-NL" noProof="0"/>
              <a:t>Seventh level</a:t>
            </a:r>
          </a:p>
          <a:p>
            <a:pPr lvl="7"/>
            <a:r>
              <a:rPr lang="en-US" altLang="nl-NL" noProof="0"/>
              <a:t>Eighth level</a:t>
            </a:r>
          </a:p>
          <a:p>
            <a:pPr lvl="8"/>
            <a:r>
              <a:rPr lang="en-US" altLang="nl-NL" noProof="0"/>
              <a:t>Ninth level</a:t>
            </a:r>
          </a:p>
          <a:p>
            <a:pPr lvl="7"/>
            <a:endParaRPr lang="en-US" altLang="nl-NL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70062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  <p:sldLayoutId id="2147484097" r:id="rId5"/>
    <p:sldLayoutId id="2147484098" r:id="rId6"/>
    <p:sldLayoutId id="2147484099" r:id="rId7"/>
    <p:sldLayoutId id="2147484100" r:id="rId8"/>
    <p:sldLayoutId id="2147484101" r:id="rId9"/>
    <p:sldLayoutId id="2147484102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45AC34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37744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6" name="think-cell Slide" r:id="rId17" imgW="345" imgH="355" progId="TCLayout.ActiveDocument.1">
                  <p:embed/>
                </p:oleObj>
              </mc:Choice>
              <mc:Fallback>
                <p:oleObj name="think-cell Slide" r:id="rId17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  <a:p>
            <a:pPr lvl="5"/>
            <a:r>
              <a:rPr lang="en-US" altLang="nl-NL" noProof="0"/>
              <a:t>Sixth level</a:t>
            </a:r>
          </a:p>
          <a:p>
            <a:pPr lvl="6"/>
            <a:r>
              <a:rPr lang="en-US" altLang="nl-NL" noProof="0"/>
              <a:t>Seventh level</a:t>
            </a:r>
          </a:p>
          <a:p>
            <a:pPr lvl="7"/>
            <a:r>
              <a:rPr lang="en-US" altLang="nl-NL" noProof="0"/>
              <a:t>Eighth level</a:t>
            </a:r>
          </a:p>
          <a:p>
            <a:pPr lvl="8"/>
            <a:r>
              <a:rPr lang="en-US" altLang="nl-NL" noProof="0"/>
              <a:t>Ninth level</a:t>
            </a:r>
          </a:p>
          <a:p>
            <a:pPr lvl="7"/>
            <a:endParaRPr lang="en-US" altLang="nl-NL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08343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2" r:id="rId1"/>
    <p:sldLayoutId id="2147484123" r:id="rId2"/>
    <p:sldLayoutId id="2147484124" r:id="rId3"/>
    <p:sldLayoutId id="2147484125" r:id="rId4"/>
    <p:sldLayoutId id="2147484126" r:id="rId5"/>
    <p:sldLayoutId id="2147484127" r:id="rId6"/>
    <p:sldLayoutId id="2147484128" r:id="rId7"/>
    <p:sldLayoutId id="2147484129" r:id="rId8"/>
    <p:sldLayoutId id="2147484130" r:id="rId9"/>
    <p:sldLayoutId id="2147484131" r:id="rId10"/>
    <p:sldLayoutId id="2147484132" r:id="rId11"/>
    <p:sldLayoutId id="214748413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45AC34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1.bin"/><Relationship Id="rId3" Type="http://schemas.openxmlformats.org/officeDocument/2006/relationships/tags" Target="../tags/tag240.xml"/><Relationship Id="rId7" Type="http://schemas.openxmlformats.org/officeDocument/2006/relationships/image" Target="../media/image21.png"/><Relationship Id="rId2" Type="http://schemas.openxmlformats.org/officeDocument/2006/relationships/tags" Target="../tags/tag239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20.jp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9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image" Target="../media/image26.emf"/><Relationship Id="rId7" Type="http://schemas.openxmlformats.org/officeDocument/2006/relationships/image" Target="../media/image30.emf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emf"/><Relationship Id="rId11" Type="http://schemas.openxmlformats.org/officeDocument/2006/relationships/image" Target="../media/image34.emf"/><Relationship Id="rId5" Type="http://schemas.openxmlformats.org/officeDocument/2006/relationships/image" Target="../media/image28.emf"/><Relationship Id="rId10" Type="http://schemas.openxmlformats.org/officeDocument/2006/relationships/image" Target="../media/image33.emf"/><Relationship Id="rId4" Type="http://schemas.openxmlformats.org/officeDocument/2006/relationships/image" Target="../media/image27.emf"/><Relationship Id="rId9" Type="http://schemas.openxmlformats.org/officeDocument/2006/relationships/image" Target="../media/image3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120.xml"/><Relationship Id="rId7" Type="http://schemas.openxmlformats.org/officeDocument/2006/relationships/image" Target="../media/image35.png"/><Relationship Id="rId2" Type="http://schemas.openxmlformats.org/officeDocument/2006/relationships/tags" Target="../tags/tag241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22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icture containing cow, grass, outdoor, standing&#10;&#10;Description automatically generated">
            <a:extLst>
              <a:ext uri="{FF2B5EF4-FFF2-40B4-BE49-F238E27FC236}">
                <a16:creationId xmlns:a16="http://schemas.microsoft.com/office/drawing/2014/main" id="{AD78550A-D869-423F-80C2-40483AABE29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/>
          <a:srcRect t="7819" b="7819"/>
          <a:stretch>
            <a:fillRect/>
          </a:stretch>
        </p:blipFill>
        <p:spPr/>
      </p:pic>
      <p:pic>
        <p:nvPicPr>
          <p:cNvPr id="15" name="Green gradient">
            <a:extLst>
              <a:ext uri="{FF2B5EF4-FFF2-40B4-BE49-F238E27FC236}">
                <a16:creationId xmlns:a16="http://schemas.microsoft.com/office/drawing/2014/main" id="{F187F205-50BF-4C78-89D9-53E2F538754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38549"/>
          <a:stretch/>
        </p:blipFill>
        <p:spPr>
          <a:xfrm>
            <a:off x="0" y="199"/>
            <a:ext cx="11160000" cy="6857603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AE119B-FD59-4A1B-B30E-9023E96346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269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78" name="think-cell Slide" r:id="rId8" imgW="429" imgH="429" progId="TCLayout.ActiveDocument.1">
                  <p:embed/>
                </p:oleObj>
              </mc:Choice>
              <mc:Fallback>
                <p:oleObj name="think-cell Slide" r:id="rId8" imgW="429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AE119B-FD59-4A1B-B30E-9023E9634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696C5EB1-AB13-42C6-BC7C-AC25539916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>
              <a:solidFill>
                <a:schemeClr val="tx1"/>
              </a:solidFill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867E86D-C697-4746-BCCB-728000AE298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0000" y="6048369"/>
            <a:ext cx="2949512" cy="139048"/>
          </a:xfrm>
          <a:prstGeom prst="rect">
            <a:avLst/>
          </a:prstGeom>
        </p:spPr>
      </p:pic>
      <p:sp>
        <p:nvSpPr>
          <p:cNvPr id="66" name="Text Placeholder 18">
            <a:extLst>
              <a:ext uri="{FF2B5EF4-FFF2-40B4-BE49-F238E27FC236}">
                <a16:creationId xmlns:a16="http://schemas.microsoft.com/office/drawing/2014/main" id="{B7852A29-67C2-4217-926A-47C8DE5C79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0000" y="4425360"/>
            <a:ext cx="9144000" cy="307777"/>
          </a:xfrm>
        </p:spPr>
        <p:txBody>
          <a:bodyPr/>
          <a:lstStyle/>
          <a:p>
            <a:pPr lvl="0"/>
            <a:r>
              <a:rPr lang="en-US" sz="2000" dirty="0">
                <a:solidFill>
                  <a:srgbClr val="FFFFFF"/>
                </a:solidFill>
                <a:latin typeface="Trebuchet MS"/>
              </a:rPr>
              <a:t>Maik Kindermann, Head R&amp;D Clean Cow, Inventor </a:t>
            </a:r>
            <a:r>
              <a:rPr lang="en-US" sz="2000" dirty="0" err="1">
                <a:solidFill>
                  <a:srgbClr val="FFFFFF"/>
                </a:solidFill>
                <a:latin typeface="Trebuchet MS"/>
              </a:rPr>
              <a:t>Bovaer</a:t>
            </a:r>
            <a:r>
              <a:rPr lang="en-US" sz="2000" baseline="30000" dirty="0">
                <a:solidFill>
                  <a:srgbClr val="FFFFFF"/>
                </a:solidFill>
                <a:latin typeface="Trebuchet MS"/>
              </a:rPr>
              <a:t>®</a:t>
            </a:r>
          </a:p>
        </p:txBody>
      </p:sp>
      <p:sp>
        <p:nvSpPr>
          <p:cNvPr id="71" name="Title 70">
            <a:extLst>
              <a:ext uri="{FF2B5EF4-FFF2-40B4-BE49-F238E27FC236}">
                <a16:creationId xmlns:a16="http://schemas.microsoft.com/office/drawing/2014/main" id="{46D4F7C0-4E53-4B03-9F45-9C8B8B26B7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540000"/>
            <a:ext cx="10772434" cy="1218795"/>
          </a:xfrm>
        </p:spPr>
        <p:txBody>
          <a:bodyPr/>
          <a:lstStyle/>
          <a:p>
            <a:r>
              <a:rPr lang="en-US" dirty="0"/>
              <a:t>Reducing methane emissions from agriculture</a:t>
            </a:r>
          </a:p>
        </p:txBody>
      </p:sp>
      <p:sp>
        <p:nvSpPr>
          <p:cNvPr id="11" name="Subtitle 76">
            <a:extLst>
              <a:ext uri="{FF2B5EF4-FFF2-40B4-BE49-F238E27FC236}">
                <a16:creationId xmlns:a16="http://schemas.microsoft.com/office/drawing/2014/main" id="{3F1CBBB3-F075-4DCC-B356-EEFAD28A2A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000" y="1909420"/>
            <a:ext cx="9144000" cy="369332"/>
          </a:xfrm>
        </p:spPr>
        <p:txBody>
          <a:bodyPr/>
          <a:lstStyle/>
          <a:p>
            <a:r>
              <a:rPr lang="en-US" dirty="0" err="1"/>
              <a:t>Bovaer</a:t>
            </a:r>
            <a:r>
              <a:rPr lang="en-US" dirty="0"/>
              <a:t>® a proven solu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CE594E4-7848-41B5-B2CD-193A1B7FA60F}"/>
              </a:ext>
            </a:extLst>
          </p:cNvPr>
          <p:cNvSpPr txBox="1"/>
          <p:nvPr/>
        </p:nvSpPr>
        <p:spPr>
          <a:xfrm>
            <a:off x="540000" y="3249282"/>
            <a:ext cx="614389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chemeClr val="bg1"/>
                </a:solidFill>
                <a:effectLst/>
                <a:latin typeface="Oxygen" panose="02000503000000000000" pitchFamily="2" charset="0"/>
              </a:rPr>
              <a:t>2022 CFA Annual General Meeting</a:t>
            </a:r>
            <a:endParaRPr lang="en-US" b="0" i="0" dirty="0">
              <a:solidFill>
                <a:schemeClr val="bg1"/>
              </a:solidFill>
              <a:effectLst/>
              <a:latin typeface="Oxygen" panose="02000503000000000000" pitchFamily="2" charset="0"/>
            </a:endParaRPr>
          </a:p>
          <a:p>
            <a:r>
              <a:rPr lang="en-US">
                <a:solidFill>
                  <a:schemeClr val="bg1"/>
                </a:solidFill>
              </a:rPr>
              <a:t>March </a:t>
            </a:r>
            <a:r>
              <a:rPr lang="en-US" dirty="0">
                <a:solidFill>
                  <a:schemeClr val="bg1"/>
                </a:solidFill>
              </a:rPr>
              <a:t>2nd, 2022</a:t>
            </a:r>
          </a:p>
          <a:p>
            <a:r>
              <a:rPr lang="en-US" sz="1800" b="0" i="1" u="none" strike="noStrike" baseline="0" dirty="0">
                <a:solidFill>
                  <a:srgbClr val="FFFFFF"/>
                </a:solidFill>
                <a:latin typeface="PierSans-MediumItalic"/>
              </a:rPr>
              <a:t>Finding sustainable solutions in uncertain tim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B655C03-0DC1-451E-9A94-078A88645E19}"/>
              </a:ext>
            </a:extLst>
          </p:cNvPr>
          <p:cNvSpPr txBox="1"/>
          <p:nvPr/>
        </p:nvSpPr>
        <p:spPr>
          <a:xfrm>
            <a:off x="455491" y="6304908"/>
            <a:ext cx="28392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dirty="0">
                <a:solidFill>
                  <a:schemeClr val="bg1"/>
                </a:solidFill>
              </a:rPr>
              <a:t>maik.kindermann@dsm.com</a:t>
            </a:r>
          </a:p>
        </p:txBody>
      </p:sp>
    </p:spTree>
    <p:extLst>
      <p:ext uri="{BB962C8B-B14F-4D97-AF65-F5344CB8AC3E}">
        <p14:creationId xmlns:p14="http://schemas.microsoft.com/office/powerpoint/2010/main" val="31725082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Placeholder 46">
            <a:extLst>
              <a:ext uri="{FF2B5EF4-FFF2-40B4-BE49-F238E27FC236}">
                <a16:creationId xmlns:a16="http://schemas.microsoft.com/office/drawing/2014/main" id="{97F5FBC4-1681-8448-B771-A5C793C1EC0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5" t="15332" r="9073" b="7793"/>
          <a:stretch/>
        </p:blipFill>
        <p:spPr>
          <a:xfrm>
            <a:off x="-4800" y="0"/>
            <a:ext cx="12196800" cy="6859990"/>
          </a:xfr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29D6928B-B248-5D44-98BD-BE18C21FC35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800" y="0"/>
            <a:ext cx="11160000" cy="6858000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BEB9BCCF-B5A4-1441-873F-13DEBBB44B9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00" y="0"/>
            <a:ext cx="11160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109F815-FF08-3B4E-B323-A9CCA518387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163" y="2254102"/>
            <a:ext cx="6400712" cy="15078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DFDBA4D-3D1A-A047-B172-B83408B234BD}"/>
              </a:ext>
            </a:extLst>
          </p:cNvPr>
          <p:cNvSpPr txBox="1"/>
          <p:nvPr/>
        </p:nvSpPr>
        <p:spPr>
          <a:xfrm>
            <a:off x="663074" y="3922028"/>
            <a:ext cx="190148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err="1">
                <a:solidFill>
                  <a:schemeClr val="bg2"/>
                </a:solidFill>
              </a:rPr>
              <a:t>Bov</a:t>
            </a:r>
            <a:r>
              <a:rPr lang="en-US" sz="3200" b="1">
                <a:solidFill>
                  <a:schemeClr val="bg2"/>
                </a:solidFill>
              </a:rPr>
              <a:t> (</a:t>
            </a:r>
            <a:r>
              <a:rPr lang="en-US" sz="3200" b="1" err="1">
                <a:solidFill>
                  <a:schemeClr val="bg2"/>
                </a:solidFill>
              </a:rPr>
              <a:t>ine</a:t>
            </a:r>
            <a:r>
              <a:rPr lang="en-US" sz="3200" b="1">
                <a:solidFill>
                  <a:schemeClr val="bg2"/>
                </a:solidFill>
              </a:rPr>
              <a:t>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A76C85E-399E-5F4E-AFA4-193C51135BA9}"/>
              </a:ext>
            </a:extLst>
          </p:cNvPr>
          <p:cNvSpPr txBox="1"/>
          <p:nvPr/>
        </p:nvSpPr>
        <p:spPr>
          <a:xfrm>
            <a:off x="2710703" y="3912998"/>
            <a:ext cx="74090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>
                <a:solidFill>
                  <a:schemeClr val="bg2"/>
                </a:solidFill>
              </a:rPr>
              <a:t>Ai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B7B2182-29F7-8F4F-8DB7-94767A114B38}"/>
              </a:ext>
            </a:extLst>
          </p:cNvPr>
          <p:cNvSpPr txBox="1"/>
          <p:nvPr/>
        </p:nvSpPr>
        <p:spPr>
          <a:xfrm>
            <a:off x="2477331" y="3912998"/>
            <a:ext cx="45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chemeClr val="bg2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1694946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0D1F90-4CE1-4E73-B11F-0661D86014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5974672"/>
            <a:ext cx="450000" cy="184666"/>
          </a:xfrm>
        </p:spPr>
        <p:txBody>
          <a:bodyPr/>
          <a:lstStyle/>
          <a:p>
            <a:fld id="{E118D48E-C7CB-6244-969D-7BAEA9B6226C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7F55787-A15A-4066-AB40-990251402AEB}"/>
              </a:ext>
            </a:extLst>
          </p:cNvPr>
          <p:cNvSpPr/>
          <p:nvPr/>
        </p:nvSpPr>
        <p:spPr>
          <a:xfrm rot="18900000">
            <a:off x="3195944" y="4829219"/>
            <a:ext cx="620111" cy="6201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7B6037-599F-4393-A107-06662E39DFA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4020" y="344533"/>
            <a:ext cx="4431934" cy="27421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D8F92BC-7D7E-4CCB-85C4-8F8757D3DBA2}"/>
              </a:ext>
            </a:extLst>
          </p:cNvPr>
          <p:cNvSpPr/>
          <p:nvPr/>
        </p:nvSpPr>
        <p:spPr>
          <a:xfrm>
            <a:off x="0" y="3016500"/>
            <a:ext cx="12192000" cy="23306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EBA2FE40-03FF-464D-BFB3-965BE68B1191}"/>
              </a:ext>
            </a:extLst>
          </p:cNvPr>
          <p:cNvSpPr txBox="1">
            <a:spLocks/>
          </p:cNvSpPr>
          <p:nvPr/>
        </p:nvSpPr>
        <p:spPr>
          <a:xfrm>
            <a:off x="416470" y="391209"/>
            <a:ext cx="11139094" cy="307777"/>
          </a:xfrm>
          <a:prstGeom prst="rect">
            <a:avLst/>
          </a:prstGeom>
        </p:spPr>
        <p:txBody>
          <a:bodyPr/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  <a:latin typeface="+mj-lt"/>
              </a:rPr>
              <a:t>Cows make methan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B989119-A5A6-4F1F-BAC8-534DF28A481E}"/>
              </a:ext>
            </a:extLst>
          </p:cNvPr>
          <p:cNvGrpSpPr/>
          <p:nvPr/>
        </p:nvGrpSpPr>
        <p:grpSpPr>
          <a:xfrm>
            <a:off x="467999" y="3760144"/>
            <a:ext cx="995276" cy="1301515"/>
            <a:chOff x="467999" y="5069459"/>
            <a:chExt cx="995276" cy="130151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4CD92662-177C-4823-9F67-9D4B2CA59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7999" y="5069459"/>
              <a:ext cx="995276" cy="842157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50C620D-6E25-4854-A370-A5BE13D23D9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7999" y="5911616"/>
              <a:ext cx="474670" cy="459358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7AFFA7B-9123-440B-ADAC-48411256B833}"/>
              </a:ext>
            </a:extLst>
          </p:cNvPr>
          <p:cNvGrpSpPr/>
          <p:nvPr/>
        </p:nvGrpSpPr>
        <p:grpSpPr>
          <a:xfrm>
            <a:off x="3214401" y="3795479"/>
            <a:ext cx="811533" cy="1259113"/>
            <a:chOff x="2381339" y="5104794"/>
            <a:chExt cx="811533" cy="1259113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D186597-BC84-4643-B21B-28279F8CFA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81339" y="5104794"/>
              <a:ext cx="811533" cy="658414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C8F38CE-A17B-4F14-A1FF-3D12A99E16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381339" y="5981108"/>
              <a:ext cx="811533" cy="382799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E635EF0-54E1-4AE1-9B9F-3E25EEC2ED96}"/>
              </a:ext>
            </a:extLst>
          </p:cNvPr>
          <p:cNvGrpSpPr/>
          <p:nvPr/>
        </p:nvGrpSpPr>
        <p:grpSpPr>
          <a:xfrm>
            <a:off x="5777060" y="3849071"/>
            <a:ext cx="918717" cy="1248198"/>
            <a:chOff x="4744678" y="5158386"/>
            <a:chExt cx="918717" cy="1248198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1472E79-10AC-4E51-A3AA-A3E5F990245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744678" y="5158386"/>
              <a:ext cx="918717" cy="551230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EEAFAE48-570B-4C4A-B360-9F2079747AD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744678" y="5947226"/>
              <a:ext cx="398111" cy="459358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6C77C0F-5479-4C3C-8A6D-6510B5AA81A6}"/>
              </a:ext>
            </a:extLst>
          </p:cNvPr>
          <p:cNvGrpSpPr/>
          <p:nvPr/>
        </p:nvGrpSpPr>
        <p:grpSpPr>
          <a:xfrm>
            <a:off x="8446903" y="3688884"/>
            <a:ext cx="750285" cy="1362009"/>
            <a:chOff x="7112337" y="4998199"/>
            <a:chExt cx="750285" cy="1362009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B72C2210-492E-40A4-BA0C-FF9F0FD212B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112337" y="4998199"/>
              <a:ext cx="750285" cy="70435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4D69DEB-71FF-4A90-8C69-42E7622A62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112337" y="5946785"/>
              <a:ext cx="382799" cy="413423"/>
            </a:xfrm>
            <a:prstGeom prst="rect">
              <a:avLst/>
            </a:prstGeom>
          </p:spPr>
        </p:pic>
      </p:grp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A2EAB88-04C9-4B32-9266-FCA16E8C55A1}"/>
              </a:ext>
            </a:extLst>
          </p:cNvPr>
          <p:cNvSpPr txBox="1">
            <a:spLocks/>
          </p:cNvSpPr>
          <p:nvPr/>
        </p:nvSpPr>
        <p:spPr>
          <a:xfrm>
            <a:off x="468000" y="1567115"/>
            <a:ext cx="11139094" cy="30777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2000" b="0" i="0">
                <a:solidFill>
                  <a:schemeClr val="accent2"/>
                </a:solidFill>
                <a:latin typeface="+mj-lt"/>
              </a:defRPr>
            </a:lvl1pPr>
            <a:lvl2pPr marL="538163" indent="-2714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b="0" i="0"/>
            </a:lvl2pPr>
            <a:lvl3pPr marL="804863" indent="-2667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b="0" i="0"/>
            </a:lvl3pPr>
            <a:lvl4pPr marL="1076325" indent="-2714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b="0" i="0"/>
            </a:lvl4pPr>
            <a:lvl5pPr marL="1076325" indent="-2714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b="0" i="0"/>
            </a:lvl5pPr>
            <a:lvl6pPr marL="1090612" indent="-2857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lvl6pPr>
            <a:lvl7pPr marL="1090612" indent="-2857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lvl7pPr>
            <a:lvl8pPr marL="1076325" indent="-2714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lvl8pPr>
            <a:lvl9pPr marL="1076325" indent="-2714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lvl9pPr>
          </a:lstStyle>
          <a:p>
            <a:r>
              <a:rPr lang="en-US">
                <a:solidFill>
                  <a:schemeClr val="accent3"/>
                </a:solidFill>
              </a:rPr>
              <a:t>Methane traps heat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88C0DC7-09A3-41E9-81F3-059A170B0FE1}"/>
              </a:ext>
            </a:extLst>
          </p:cNvPr>
          <p:cNvSpPr txBox="1">
            <a:spLocks/>
          </p:cNvSpPr>
          <p:nvPr/>
        </p:nvSpPr>
        <p:spPr>
          <a:xfrm>
            <a:off x="468000" y="3174989"/>
            <a:ext cx="1113909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i="0" kern="1200">
                <a:solidFill>
                  <a:schemeClr val="tx2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 kern="1200">
                <a:solidFill>
                  <a:schemeClr val="tx2"/>
                </a:solidFill>
                <a:latin typeface="Trebuchet MS" panose="020B070302020209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err="1">
                <a:solidFill>
                  <a:schemeClr val="bg1"/>
                </a:solidFill>
              </a:rPr>
              <a:t>Bovaer</a:t>
            </a:r>
            <a:r>
              <a:rPr lang="en-US" sz="2000" baseline="30000">
                <a:solidFill>
                  <a:schemeClr val="bg1"/>
                </a:solidFill>
              </a:rPr>
              <a:t>®</a:t>
            </a:r>
            <a:r>
              <a:rPr lang="en-US" sz="2000">
                <a:solidFill>
                  <a:schemeClr val="bg1"/>
                </a:solidFill>
              </a:rPr>
              <a:t> reduces metha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16F5D0D-2B80-4517-8BFD-2E0DCD849AEB}"/>
              </a:ext>
            </a:extLst>
          </p:cNvPr>
          <p:cNvSpPr/>
          <p:nvPr/>
        </p:nvSpPr>
        <p:spPr>
          <a:xfrm>
            <a:off x="1036803" y="4621642"/>
            <a:ext cx="197628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teaspoon daily</a:t>
            </a:r>
          </a:p>
          <a:p>
            <a:r>
              <a:rPr lang="en-US" sz="1400">
                <a:solidFill>
                  <a:schemeClr val="bg1"/>
                </a:solidFill>
              </a:rPr>
              <a:t>in a cow’s feed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91CDF82-4844-4A6A-9DF1-B812176A2A0E}"/>
              </a:ext>
            </a:extLst>
          </p:cNvPr>
          <p:cNvSpPr/>
          <p:nvPr/>
        </p:nvSpPr>
        <p:spPr>
          <a:xfrm>
            <a:off x="4084802" y="4621642"/>
            <a:ext cx="197628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less methane produce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12B9EF9-9990-4448-B0DD-84D01908A3C7}"/>
              </a:ext>
            </a:extLst>
          </p:cNvPr>
          <p:cNvSpPr/>
          <p:nvPr/>
        </p:nvSpPr>
        <p:spPr>
          <a:xfrm>
            <a:off x="6288741" y="4621642"/>
            <a:ext cx="197628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takes effect immediatel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CDE3492-9D39-49CB-A963-004A6B48F890}"/>
              </a:ext>
            </a:extLst>
          </p:cNvPr>
          <p:cNvSpPr/>
          <p:nvPr/>
        </p:nvSpPr>
        <p:spPr>
          <a:xfrm>
            <a:off x="8961602" y="4621642"/>
            <a:ext cx="287304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proven safe for consumers, for cows, and good for our planet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79FBC1E-A491-4816-ADDC-507D3EEAFFCF}"/>
              </a:ext>
            </a:extLst>
          </p:cNvPr>
          <p:cNvSpPr/>
          <p:nvPr/>
        </p:nvSpPr>
        <p:spPr>
          <a:xfrm>
            <a:off x="406609" y="793307"/>
            <a:ext cx="5689392" cy="4831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/>
              <a:t>It’s not their fault. Methane is a byproduct of digesting the tough, fibrous food they eat. And it’s released into the air burp by burp. 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1431A3-2159-43D4-84FA-85AB58244CB7}"/>
              </a:ext>
            </a:extLst>
          </p:cNvPr>
          <p:cNvSpPr/>
          <p:nvPr/>
        </p:nvSpPr>
        <p:spPr>
          <a:xfrm>
            <a:off x="406608" y="1976481"/>
            <a:ext cx="5462851" cy="686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/>
              <a:t>Like carbon dioxide (CO</a:t>
            </a:r>
            <a:r>
              <a:rPr lang="en-US" sz="1200" baseline="-25000"/>
              <a:t>2</a:t>
            </a:r>
            <a:r>
              <a:rPr lang="en-US" sz="1200"/>
              <a:t>), methane is a greenhouse gas. Its warming effect is shorter lived, but much more potent than CO</a:t>
            </a:r>
            <a:r>
              <a:rPr lang="en-US" sz="1200" baseline="-25000"/>
              <a:t>2</a:t>
            </a:r>
            <a:r>
              <a:rPr lang="en-US" sz="1200"/>
              <a:t>. So eliminating it begins to pay off right away. 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A84DA7A-98B0-4FDF-BD5F-ED0864FFC9CA}"/>
              </a:ext>
            </a:extLst>
          </p:cNvPr>
          <p:cNvCxnSpPr>
            <a:cxnSpLocks/>
          </p:cNvCxnSpPr>
          <p:nvPr/>
        </p:nvCxnSpPr>
        <p:spPr>
          <a:xfrm>
            <a:off x="272811" y="679997"/>
            <a:ext cx="0" cy="868241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95535E4F-C9E5-4B23-AE1D-EAB0C464D082}"/>
              </a:ext>
            </a:extLst>
          </p:cNvPr>
          <p:cNvSpPr/>
          <p:nvPr/>
        </p:nvSpPr>
        <p:spPr>
          <a:xfrm>
            <a:off x="227507" y="473608"/>
            <a:ext cx="104975" cy="1049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7FCFE4E-A8A0-4F05-A20E-BD6C94A471EB}"/>
              </a:ext>
            </a:extLst>
          </p:cNvPr>
          <p:cNvSpPr/>
          <p:nvPr/>
        </p:nvSpPr>
        <p:spPr>
          <a:xfrm>
            <a:off x="229876" y="1663584"/>
            <a:ext cx="104975" cy="10497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5A4103E-7E1B-44EF-B37B-647ECE2541BF}"/>
              </a:ext>
            </a:extLst>
          </p:cNvPr>
          <p:cNvCxnSpPr>
            <a:cxnSpLocks/>
          </p:cNvCxnSpPr>
          <p:nvPr/>
        </p:nvCxnSpPr>
        <p:spPr>
          <a:xfrm>
            <a:off x="262301" y="1915435"/>
            <a:ext cx="1" cy="1401653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val 32">
            <a:extLst>
              <a:ext uri="{FF2B5EF4-FFF2-40B4-BE49-F238E27FC236}">
                <a16:creationId xmlns:a16="http://schemas.microsoft.com/office/drawing/2014/main" id="{D3F33A77-298C-4C04-AE9A-D188196EC389}"/>
              </a:ext>
            </a:extLst>
          </p:cNvPr>
          <p:cNvSpPr/>
          <p:nvPr/>
        </p:nvSpPr>
        <p:spPr>
          <a:xfrm>
            <a:off x="216997" y="3298960"/>
            <a:ext cx="104975" cy="1049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D64174BA-259B-4F3E-AC4A-EFCA33E3942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324319" y="3989779"/>
            <a:ext cx="249738" cy="23052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B8BE48D9-00EE-43D5-9B36-8BDB89ECF9E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04760" y="3989779"/>
            <a:ext cx="249738" cy="230527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6A247E-E423-4065-A078-1FE9F26D83A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505918" y="3989779"/>
            <a:ext cx="249738" cy="230527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894B8B66-3FA8-4C7E-B4BB-EA9158E360C7}"/>
              </a:ext>
            </a:extLst>
          </p:cNvPr>
          <p:cNvSpPr/>
          <p:nvPr/>
        </p:nvSpPr>
        <p:spPr>
          <a:xfrm>
            <a:off x="406608" y="5963472"/>
            <a:ext cx="8684840" cy="4831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/>
              <a:t>In a cow’s stomach, microbes help food break down. This releases hydrogen and carbon dioxide. An enzyme combines these gases to form methane. </a:t>
            </a:r>
            <a:r>
              <a:rPr lang="en-US" sz="1200" b="1" err="1"/>
              <a:t>Bovaer</a:t>
            </a:r>
            <a:r>
              <a:rPr lang="en-US" sz="1200" b="1" baseline="30000"/>
              <a:t>®</a:t>
            </a:r>
            <a:r>
              <a:rPr lang="en-US" sz="1200" b="1"/>
              <a:t> is a feed additive that suppresses the enzyme, so less methane gets generated.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B31257C7-D246-4FA1-94B0-C45D29D43E7D}"/>
              </a:ext>
            </a:extLst>
          </p:cNvPr>
          <p:cNvSpPr txBox="1">
            <a:spLocks/>
          </p:cNvSpPr>
          <p:nvPr/>
        </p:nvSpPr>
        <p:spPr>
          <a:xfrm>
            <a:off x="468000" y="5616727"/>
            <a:ext cx="1113909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i="0" kern="1200">
                <a:solidFill>
                  <a:schemeClr val="tx2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i="0" kern="1200">
                <a:solidFill>
                  <a:schemeClr val="tx2"/>
                </a:solidFill>
                <a:latin typeface="Trebuchet MS" panose="020B070302020209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0">
                <a:solidFill>
                  <a:schemeClr val="accent2"/>
                </a:solidFill>
                <a:latin typeface="+mj-lt"/>
              </a:rPr>
              <a:t>How it works</a:t>
            </a:r>
          </a:p>
        </p:txBody>
      </p:sp>
    </p:spTree>
    <p:extLst>
      <p:ext uri="{BB962C8B-B14F-4D97-AF65-F5344CB8AC3E}">
        <p14:creationId xmlns:p14="http://schemas.microsoft.com/office/powerpoint/2010/main" val="6124216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CBC2A1-61F9-44CC-9A1F-F4B2EF391D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CBC2A1-61F9-44CC-9A1F-F4B2EF391D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3D140F3-2647-4A12-BE5A-C1C7BF887B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199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199" b="0" i="0" u="none" strike="noStrike" kern="120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74A4A69E-B0D9-4A9E-8831-E3696E9EF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311451"/>
            <a:ext cx="11588720" cy="885627"/>
          </a:xfrm>
        </p:spPr>
        <p:txBody>
          <a:bodyPr vert="horz"/>
          <a:lstStyle/>
          <a:p>
            <a:r>
              <a:rPr lang="en-US" dirty="0"/>
              <a:t>Bovaer® saves 1 ton of CO</a:t>
            </a:r>
            <a:r>
              <a:rPr lang="en-US" baseline="-25000" dirty="0"/>
              <a:t>2</a:t>
            </a:r>
            <a:r>
              <a:rPr lang="en-US" dirty="0"/>
              <a:t> equivalent per cow every year, thereby creating a step-change improvement in sustainabil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FE480A-F27D-4256-9A73-A8DE11AD70CE}"/>
              </a:ext>
            </a:extLst>
          </p:cNvPr>
          <p:cNvSpPr txBox="1"/>
          <p:nvPr/>
        </p:nvSpPr>
        <p:spPr>
          <a:xfrm>
            <a:off x="693000" y="4058692"/>
            <a:ext cx="35800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…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1 cow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saves the equivalent o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127.000 smartphon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charges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EC186F-2049-447A-AC3D-F93D0092AA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7073" y="2482468"/>
            <a:ext cx="2945998" cy="128151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9837E70-7077-4EB1-957A-08C43E6ECA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06236" y="2710859"/>
            <a:ext cx="3682497" cy="109001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53D5553-6771-4B69-8F03-25A9E6B2A99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50983" y="2504639"/>
            <a:ext cx="3505737" cy="129623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60EB378-7339-40A0-A9CC-392FC64D945A}"/>
              </a:ext>
            </a:extLst>
          </p:cNvPr>
          <p:cNvSpPr txBox="1"/>
          <p:nvPr/>
        </p:nvSpPr>
        <p:spPr>
          <a:xfrm>
            <a:off x="4711227" y="3800878"/>
            <a:ext cx="395698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…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3 cow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is like tak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1 family-sized ca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off the roa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F305BD-BABF-441D-BABC-726EC8D49F0E}"/>
              </a:ext>
            </a:extLst>
          </p:cNvPr>
          <p:cNvSpPr txBox="1"/>
          <p:nvPr/>
        </p:nvSpPr>
        <p:spPr>
          <a:xfrm>
            <a:off x="8822427" y="3781694"/>
            <a:ext cx="323429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…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1 million cow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is lik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planting a forest o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45 million tre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D144159-B228-4926-B00B-F94C1BEBC02B}"/>
              </a:ext>
            </a:extLst>
          </p:cNvPr>
          <p:cNvSpPr txBox="1"/>
          <p:nvPr/>
        </p:nvSpPr>
        <p:spPr>
          <a:xfrm>
            <a:off x="479421" y="2027140"/>
            <a:ext cx="60930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Feeding Bovaer® to… </a:t>
            </a:r>
          </a:p>
        </p:txBody>
      </p:sp>
    </p:spTree>
    <p:extLst>
      <p:ext uri="{BB962C8B-B14F-4D97-AF65-F5344CB8AC3E}">
        <p14:creationId xmlns:p14="http://schemas.microsoft.com/office/powerpoint/2010/main" val="2262027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0gPcbdwgR7jIjMdxVMN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_dMkZbQyvTBkL1opT4U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0gPcbdwgR7jIjMdxVMN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0gPcbdwgR7jIjMdxVM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0gPcbdwgR7jIjMdxVMN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_dMkZbQyvTBkL1opT4U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K9JBanOjGEKq8uWNN.R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0gPcbdwgR7jIjMdxVMN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LIg6XXsreTVnguws5P9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0gPcbdwgR7jIjMdxVMN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0gPcbdwgR7jIjMdxVMN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_dMkZbQyvTBkL1opT4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0gPcbdwgR7jIjMdxVM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K9JBanOjGEKq8uWNN.R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0gPcbdwgR7jIjMdxVMN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heme/theme1.xml><?xml version="1.0" encoding="utf-8"?>
<a:theme xmlns:a="http://schemas.openxmlformats.org/drawingml/2006/main" name="DSM / Multi color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multicolor_Fira_Sans - Copy.potx" id="{A43BA791-1CF0-4B8C-90B8-F22E763AA679}" vid="{5AD1217C-C2A8-4145-A417-1828340FB749}"/>
    </a:ext>
  </a:extLst>
</a:theme>
</file>

<file path=ppt/theme/theme10.xml><?xml version="1.0" encoding="utf-8"?>
<a:theme xmlns:a="http://schemas.openxmlformats.org/drawingml/2006/main" name="1_Office Theme Bovaer">
  <a:themeElements>
    <a:clrScheme name="Custom 6">
      <a:dk1>
        <a:srgbClr val="000000"/>
      </a:dk1>
      <a:lt1>
        <a:srgbClr val="FFFFFF"/>
      </a:lt1>
      <a:dk2>
        <a:srgbClr val="45AC34"/>
      </a:dk2>
      <a:lt2>
        <a:srgbClr val="FEFFFF"/>
      </a:lt2>
      <a:accent1>
        <a:srgbClr val="0F9632"/>
      </a:accent1>
      <a:accent2>
        <a:srgbClr val="45AC34"/>
      </a:accent2>
      <a:accent3>
        <a:srgbClr val="82C83C"/>
      </a:accent3>
      <a:accent4>
        <a:srgbClr val="003378"/>
      </a:accent4>
      <a:accent5>
        <a:srgbClr val="0070BA"/>
      </a:accent5>
      <a:accent6>
        <a:srgbClr val="009FE3"/>
      </a:accent6>
      <a:hlink>
        <a:srgbClr val="BD0A79"/>
      </a:hlink>
      <a:folHlink>
        <a:srgbClr val="003378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_DSM / Multi color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multicolor_Fira_Sans - Copy.potx" id="{A43BA791-1CF0-4B8C-90B8-F22E763AA679}" vid="{5AD1217C-C2A8-4145-A417-1828340FB749}"/>
    </a:ext>
  </a:extLst>
</a:theme>
</file>

<file path=ppt/theme/theme12.xml><?xml version="1.0" encoding="utf-8"?>
<a:theme xmlns:a="http://schemas.openxmlformats.org/drawingml/2006/main" name="3_DSM / Blue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multicolor_Fira_Sans - Copy.potx" id="{A43BA791-1CF0-4B8C-90B8-F22E763AA679}" vid="{D0129B14-E52D-4EE9-BFA6-84F2756D5C6D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SM / Blue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multicolor_Fira_Sans - Copy.potx" id="{A43BA791-1CF0-4B8C-90B8-F22E763AA679}" vid="{D0129B14-E52D-4EE9-BFA6-84F2756D5C6D}"/>
    </a:ext>
  </a:extLst>
</a:theme>
</file>

<file path=ppt/theme/theme3.xml><?xml version="1.0" encoding="utf-8"?>
<a:theme xmlns:a="http://schemas.openxmlformats.org/drawingml/2006/main" name="DSM / Green">
  <a:themeElements>
    <a:clrScheme name="DSM green">
      <a:dk1>
        <a:srgbClr val="000000"/>
      </a:dk1>
      <a:lt1>
        <a:srgbClr val="FFFFFF"/>
      </a:lt1>
      <a:dk2>
        <a:srgbClr val="007E4B"/>
      </a:dk2>
      <a:lt2>
        <a:srgbClr val="FFFFFF"/>
      </a:lt2>
      <a:accent1>
        <a:srgbClr val="AAD29A"/>
      </a:accent1>
      <a:accent2>
        <a:srgbClr val="009B97"/>
      </a:accent2>
      <a:accent3>
        <a:srgbClr val="45AC34"/>
      </a:accent3>
      <a:accent4>
        <a:srgbClr val="338126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multicolor_Fira_Sans - Copy.potx" id="{A43BA791-1CF0-4B8C-90B8-F22E763AA679}" vid="{37170B23-36A1-4868-B81A-82B03FD59FC3}"/>
    </a:ext>
  </a:extLst>
</a:theme>
</file>

<file path=ppt/theme/theme4.xml><?xml version="1.0" encoding="utf-8"?>
<a:theme xmlns:a="http://schemas.openxmlformats.org/drawingml/2006/main" name="DSM / Orange">
  <a:themeElements>
    <a:clrScheme name="DSM orange">
      <a:dk1>
        <a:srgbClr val="000000"/>
      </a:dk1>
      <a:lt1>
        <a:srgbClr val="FFFFFF"/>
      </a:lt1>
      <a:dk2>
        <a:srgbClr val="EE7203"/>
      </a:dk2>
      <a:lt2>
        <a:srgbClr val="FFFFFF"/>
      </a:lt2>
      <a:accent1>
        <a:srgbClr val="F9B672"/>
      </a:accent1>
      <a:accent2>
        <a:srgbClr val="E51F22"/>
      </a:accent2>
      <a:accent3>
        <a:srgbClr val="970D34"/>
      </a:accent3>
      <a:accent4>
        <a:srgbClr val="672F06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multicolor_Fira_Sans - Copy.potx" id="{A43BA791-1CF0-4B8C-90B8-F22E763AA679}" vid="{DABE0768-F66D-46B4-8413-3EE113546D95}"/>
    </a:ext>
  </a:extLst>
</a:theme>
</file>

<file path=ppt/theme/theme5.xml><?xml version="1.0" encoding="utf-8"?>
<a:theme xmlns:a="http://schemas.openxmlformats.org/drawingml/2006/main" name="DSM / Purple">
  <a:themeElements>
    <a:clrScheme name="DSM purple">
      <a:dk1>
        <a:srgbClr val="000000"/>
      </a:dk1>
      <a:lt1>
        <a:srgbClr val="FFFFFF"/>
      </a:lt1>
      <a:dk2>
        <a:srgbClr val="521B65"/>
      </a:dk2>
      <a:lt2>
        <a:srgbClr val="FFFFFF"/>
      </a:lt2>
      <a:accent1>
        <a:srgbClr val="D68AB3"/>
      </a:accent1>
      <a:accent2>
        <a:srgbClr val="BD0A79"/>
      </a:accent2>
      <a:accent3>
        <a:srgbClr val="7B1F62"/>
      </a:accent3>
      <a:accent4>
        <a:srgbClr val="521B65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multicolor_Fira_Sans - Copy.potx" id="{A43BA791-1CF0-4B8C-90B8-F22E763AA679}" vid="{75D6762B-D3D2-4867-9F7B-CF2A958F8907}"/>
    </a:ext>
  </a:extLst>
</a:theme>
</file>

<file path=ppt/theme/theme6.xml><?xml version="1.0" encoding="utf-8"?>
<a:theme xmlns:a="http://schemas.openxmlformats.org/drawingml/2006/main" name="1_DSM / Blue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company-presentation_dwpo_v1" id="{47704F63-29DC-4FD2-A6A3-9042BB435FD6}" vid="{C8CBF16A-A69D-49F3-A6BB-34C4F9628205}"/>
    </a:ext>
  </a:extLst>
</a:theme>
</file>

<file path=ppt/theme/theme7.xml><?xml version="1.0" encoding="utf-8"?>
<a:theme xmlns:a="http://schemas.openxmlformats.org/drawingml/2006/main" name="2_DSM / Blue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blue_Fira_Sans_RV.potx" id="{6F31FA1A-EF7B-47B8-AD48-896D052367E4}" vid="{0F4264D6-318A-4BD7-9D3A-FC5BDE97D4D7}"/>
    </a:ext>
  </a:extLst>
</a:theme>
</file>

<file path=ppt/theme/theme8.xml><?xml version="1.0" encoding="utf-8"?>
<a:theme xmlns:a="http://schemas.openxmlformats.org/drawingml/2006/main" name="2_DSM / Green">
  <a:themeElements>
    <a:clrScheme name="DSM green">
      <a:dk1>
        <a:srgbClr val="000000"/>
      </a:dk1>
      <a:lt1>
        <a:srgbClr val="FFFFFF"/>
      </a:lt1>
      <a:dk2>
        <a:srgbClr val="007E4B"/>
      </a:dk2>
      <a:lt2>
        <a:srgbClr val="FFFFFF"/>
      </a:lt2>
      <a:accent1>
        <a:srgbClr val="AAD29A"/>
      </a:accent1>
      <a:accent2>
        <a:srgbClr val="009B97"/>
      </a:accent2>
      <a:accent3>
        <a:srgbClr val="45AC34"/>
      </a:accent3>
      <a:accent4>
        <a:srgbClr val="338126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multicolor_Fira_Sans - Copy.potx" id="{A43BA791-1CF0-4B8C-90B8-F22E763AA679}" vid="{37170B23-36A1-4868-B81A-82B03FD59FC3}"/>
    </a:ext>
  </a:extLst>
</a:theme>
</file>

<file path=ppt/theme/theme9.xml><?xml version="1.0" encoding="utf-8"?>
<a:theme xmlns:a="http://schemas.openxmlformats.org/drawingml/2006/main" name="1_DSM / Green">
  <a:themeElements>
    <a:clrScheme name="DSM green">
      <a:dk1>
        <a:srgbClr val="000000"/>
      </a:dk1>
      <a:lt1>
        <a:srgbClr val="FFFFFF"/>
      </a:lt1>
      <a:dk2>
        <a:srgbClr val="007E4B"/>
      </a:dk2>
      <a:lt2>
        <a:srgbClr val="FFFFFF"/>
      </a:lt2>
      <a:accent1>
        <a:srgbClr val="AAD29A"/>
      </a:accent1>
      <a:accent2>
        <a:srgbClr val="009B97"/>
      </a:accent2>
      <a:accent3>
        <a:srgbClr val="45AC34"/>
      </a:accent3>
      <a:accent4>
        <a:srgbClr val="338126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multicolor_Fira_Sans - Copy.potx" id="{A43BA791-1CF0-4B8C-90B8-F22E763AA679}" vid="{37170B23-36A1-4868-B81A-82B03FD59FC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a2251cd-bd5e-462d-8f0e-b8d48ef43808"/>
    <DSMClassification xmlns="5a2251cd-bd5e-462d-8f0e-b8d48ef4380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haredContentType xmlns="Microsoft.SharePoint.Taxonomy.ContentTypeSync" SourceId="1e82cb03-88f0-48bb-a65d-3e95f13147ee" ContentTypeId="0x0101" PreviousValue="false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966F5B59F1E83409245AF76C68E84A9" ma:contentTypeVersion="12" ma:contentTypeDescription="Create a new document." ma:contentTypeScope="" ma:versionID="6fef5fba980ffb9965d9403fbc067d68">
  <xsd:schema xmlns:xsd="http://www.w3.org/2001/XMLSchema" xmlns:xs="http://www.w3.org/2001/XMLSchema" xmlns:p="http://schemas.microsoft.com/office/2006/metadata/properties" xmlns:ns2="5a2251cd-bd5e-462d-8f0e-b8d48ef43808" xmlns:ns3="08cf75c4-4478-4206-b627-45b3d7239e01" xmlns:ns4="afb42ea7-47a8-437e-bc6c-9a79b3570a44" targetNamespace="http://schemas.microsoft.com/office/2006/metadata/properties" ma:root="true" ma:fieldsID="6351180d5aa4250c077076b3bc37d46d" ns2:_="" ns3:_="" ns4:_="">
    <xsd:import namespace="5a2251cd-bd5e-462d-8f0e-b8d48ef43808"/>
    <xsd:import namespace="08cf75c4-4478-4206-b627-45b3d7239e01"/>
    <xsd:import namespace="afb42ea7-47a8-437e-bc6c-9a79b3570a44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DSMClassification" minOccurs="0"/>
                <xsd:element ref="ns3:MediaServiceFastMetadata" minOccurs="0"/>
                <xsd:element ref="ns3:MediaService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2251cd-bd5e-462d-8f0e-b8d48ef43808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946e3610-5d93-4ff2-9693-2037d7635b80}" ma:internalName="TaxCatchAll" ma:showField="CatchAllData" ma:web="afb42ea7-47a8-437e-bc6c-9a79b3570a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946e3610-5d93-4ff2-9693-2037d7635b80}" ma:internalName="TaxCatchAllLabel" ma:readOnly="true" ma:showField="CatchAllDataLabel" ma:web="afb42ea7-47a8-437e-bc6c-9a79b3570a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DSMClassification" ma:index="10" nillable="true" ma:displayName="DSMClassification" ma:format="Dropdown" ma:internalName="DSMClassification">
      <xsd:simpleType>
        <xsd:restriction base="dms:Choice">
          <xsd:enumeration value="CONFIDENTIAL"/>
          <xsd:enumeration value="CLASSIFIED PERSONNEL INFORMATION"/>
          <xsd:enumeration value="FOR INTERNAL USE ONLY"/>
          <xsd:enumeration value="PUBLIC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cf75c4-4478-4206-b627-45b3d7239e01" elementFormDefault="qualified">
    <xsd:import namespace="http://schemas.microsoft.com/office/2006/documentManagement/types"/>
    <xsd:import namespace="http://schemas.microsoft.com/office/infopath/2007/PartnerControls"/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b42ea7-47a8-437e-bc6c-9a79b3570a44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F7B9160-792D-4CBB-99B0-DDEC2CBDD9BB}">
  <ds:schemaRefs>
    <ds:schemaRef ds:uri="08cf75c4-4478-4206-b627-45b3d7239e01"/>
    <ds:schemaRef ds:uri="5a2251cd-bd5e-462d-8f0e-b8d48ef4380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B89C04C-B567-463A-9915-47FAF203A8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79AE7AF-6B12-4FE3-980E-2155CA8FB382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12B97BB5-0358-4ED0-983C-481370C1296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2251cd-bd5e-462d-8f0e-b8d48ef43808"/>
    <ds:schemaRef ds:uri="08cf75c4-4478-4206-b627-45b3d7239e01"/>
    <ds:schemaRef ds:uri="afb42ea7-47a8-437e-bc6c-9a79b3570a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SM_PPT_multicolor</Template>
  <TotalTime>1272</TotalTime>
  <Words>266</Words>
  <Application>Microsoft Office PowerPoint</Application>
  <PresentationFormat>Widescreen</PresentationFormat>
  <Paragraphs>38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3" baseType="lpstr">
      <vt:lpstr>Fira Sans Medium</vt:lpstr>
      <vt:lpstr>Arial</vt:lpstr>
      <vt:lpstr>Oxygen</vt:lpstr>
      <vt:lpstr>Fira Sans</vt:lpstr>
      <vt:lpstr>PierSans-MediumItalic</vt:lpstr>
      <vt:lpstr>Trebuchet MS</vt:lpstr>
      <vt:lpstr>DSM / Multi color</vt:lpstr>
      <vt:lpstr>DSM / Blue</vt:lpstr>
      <vt:lpstr>DSM / Green</vt:lpstr>
      <vt:lpstr>DSM / Orange</vt:lpstr>
      <vt:lpstr>DSM / Purple</vt:lpstr>
      <vt:lpstr>1_DSM / Blue</vt:lpstr>
      <vt:lpstr>2_DSM / Blue</vt:lpstr>
      <vt:lpstr>2_DSM / Green</vt:lpstr>
      <vt:lpstr>1_DSM / Green</vt:lpstr>
      <vt:lpstr>1_Office Theme Bovaer</vt:lpstr>
      <vt:lpstr>1_DSM / Multi color</vt:lpstr>
      <vt:lpstr>3_DSM / Blue</vt:lpstr>
      <vt:lpstr>think-cell Slide</vt:lpstr>
      <vt:lpstr>Reducing methane emissions from agriculture</vt:lpstr>
      <vt:lpstr>PowerPoint Presentation</vt:lpstr>
      <vt:lpstr>PowerPoint Presentation</vt:lpstr>
      <vt:lpstr>Bovaer® saves 1 ton of CO2 equivalent per cow every year, thereby creating a step-change improvement in sustainabilit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of the template</dc:title>
  <dc:creator>van-der-Kreeft, Mirelle</dc:creator>
  <cp:lastModifiedBy>Kindermann, Maik</cp:lastModifiedBy>
  <cp:revision>7</cp:revision>
  <cp:lastPrinted>2019-08-23T14:34:23Z</cp:lastPrinted>
  <dcterms:created xsi:type="dcterms:W3CDTF">2021-02-11T12:23:13Z</dcterms:created>
  <dcterms:modified xsi:type="dcterms:W3CDTF">2022-02-21T17:2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966F5B59F1E83409245AF76C68E84A9</vt:lpwstr>
  </property>
  <property fmtid="{D5CDD505-2E9C-101B-9397-08002B2CF9AE}" pid="3" name="MSIP_Label_2ff753fd-faf2-4608-9b59-553f003adcdf_Enabled">
    <vt:lpwstr>true</vt:lpwstr>
  </property>
  <property fmtid="{D5CDD505-2E9C-101B-9397-08002B2CF9AE}" pid="4" name="MSIP_Label_2ff753fd-faf2-4608-9b59-553f003adcdf_SetDate">
    <vt:lpwstr>2021-03-03T15:30:55Z</vt:lpwstr>
  </property>
  <property fmtid="{D5CDD505-2E9C-101B-9397-08002B2CF9AE}" pid="5" name="MSIP_Label_2ff753fd-faf2-4608-9b59-553f003adcdf_Method">
    <vt:lpwstr>Privileged</vt:lpwstr>
  </property>
  <property fmtid="{D5CDD505-2E9C-101B-9397-08002B2CF9AE}" pid="6" name="MSIP_Label_2ff753fd-faf2-4608-9b59-553f003adcdf_Name">
    <vt:lpwstr>2ff753fd-faf2-4608-9b59-553f003adcdf</vt:lpwstr>
  </property>
  <property fmtid="{D5CDD505-2E9C-101B-9397-08002B2CF9AE}" pid="7" name="MSIP_Label_2ff753fd-faf2-4608-9b59-553f003adcdf_SiteId">
    <vt:lpwstr>49618402-6ea3-441d-957d-7df8773fee54</vt:lpwstr>
  </property>
  <property fmtid="{D5CDD505-2E9C-101B-9397-08002B2CF9AE}" pid="8" name="MSIP_Label_2ff753fd-faf2-4608-9b59-553f003adcdf_ActionId">
    <vt:lpwstr>74f2134c-2dc3-4c33-b5d0-de8900882bef</vt:lpwstr>
  </property>
  <property fmtid="{D5CDD505-2E9C-101B-9397-08002B2CF9AE}" pid="9" name="MSIP_Label_2ff753fd-faf2-4608-9b59-553f003adcdf_ContentBits">
    <vt:lpwstr>0</vt:lpwstr>
  </property>
</Properties>
</file>